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7.xml" ContentType="application/vnd.openxmlformats-officedocument.presentationml.notesSlide+xml"/>
  <Override PartName="/ppt/tags/tag40.xml" ContentType="application/vnd.openxmlformats-officedocument.presentationml.tags+xml"/>
  <Override PartName="/ppt/notesSlides/notesSlide1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68" r:id="rId6"/>
  </p:sldMasterIdLst>
  <p:notesMasterIdLst>
    <p:notesMasterId r:id="rId46"/>
  </p:notesMasterIdLst>
  <p:sldIdLst>
    <p:sldId id="2147376621" r:id="rId7"/>
    <p:sldId id="2147376622" r:id="rId8"/>
    <p:sldId id="2147376623" r:id="rId9"/>
    <p:sldId id="2147376624" r:id="rId10"/>
    <p:sldId id="2147376625" r:id="rId11"/>
    <p:sldId id="2147376659" r:id="rId12"/>
    <p:sldId id="2147376626" r:id="rId13"/>
    <p:sldId id="2147376631" r:id="rId14"/>
    <p:sldId id="2147376634" r:id="rId15"/>
    <p:sldId id="2147376627" r:id="rId16"/>
    <p:sldId id="2147376661" r:id="rId17"/>
    <p:sldId id="2147376637" r:id="rId18"/>
    <p:sldId id="2147376658" r:id="rId19"/>
    <p:sldId id="2147376639" r:id="rId20"/>
    <p:sldId id="2147376640" r:id="rId21"/>
    <p:sldId id="2147376641" r:id="rId22"/>
    <p:sldId id="2147376642" r:id="rId23"/>
    <p:sldId id="2147376643" r:id="rId24"/>
    <p:sldId id="2147376644" r:id="rId25"/>
    <p:sldId id="2147376645" r:id="rId26"/>
    <p:sldId id="2147376646" r:id="rId27"/>
    <p:sldId id="2147376647" r:id="rId28"/>
    <p:sldId id="2147376648" r:id="rId29"/>
    <p:sldId id="2147376649" r:id="rId30"/>
    <p:sldId id="2147376650" r:id="rId31"/>
    <p:sldId id="2147376651" r:id="rId32"/>
    <p:sldId id="2147376652" r:id="rId33"/>
    <p:sldId id="2147376653" r:id="rId34"/>
    <p:sldId id="2147376654" r:id="rId35"/>
    <p:sldId id="2147376655" r:id="rId36"/>
    <p:sldId id="2147376663" r:id="rId37"/>
    <p:sldId id="2147376664" r:id="rId38"/>
    <p:sldId id="2147376660" r:id="rId39"/>
    <p:sldId id="2147376656" r:id="rId40"/>
    <p:sldId id="2147376628" r:id="rId41"/>
    <p:sldId id="2147376662" r:id="rId42"/>
    <p:sldId id="2147376630" r:id="rId43"/>
    <p:sldId id="2147376633" r:id="rId44"/>
    <p:sldId id="2147376629" r:id="rId45"/>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62C41E-3790-459C-9999-E40528CFD83F}" name="Alex Hoyle" initials="AH" userId="S::ahoyle@guidehouse.com::72c61a1e-b642-434f-9b4b-6a0ea97a156c" providerId="AD"/>
  <p188:author id="{7A5D72B5-BC3D-CB8E-BDFC-F7F67EEA52DE}" name="Magali Aurand" initials="MA" userId="S::maurand@guidehouse.com::8e613f04-88c6-478f-a50c-6543fd88c65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9C14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B9BB60-9CC1-5502-4BCA-CCCE751D66C4}" v="15" dt="2025-05-07T09:42:58.450"/>
    <p1510:client id="{C3295FBD-69E7-4C19-87B1-56C8457354BA}" v="3254" dt="2025-05-07T09:36:06.2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6247" autoAdjust="0"/>
  </p:normalViewPr>
  <p:slideViewPr>
    <p:cSldViewPr snapToGrid="0">
      <p:cViewPr varScale="1">
        <p:scale>
          <a:sx n="102" d="100"/>
          <a:sy n="102" d="100"/>
        </p:scale>
        <p:origin x="276" y="31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gali Aurand" userId="8e613f04-88c6-478f-a50c-6543fd88c657" providerId="ADAL" clId="{C3295FBD-69E7-4C19-87B1-56C8457354BA}"/>
    <pc:docChg chg="undo redo custSel addSld delSld modSld sldOrd addMainMaster delMainMaster modMainMaster">
      <pc:chgData name="Magali Aurand" userId="8e613f04-88c6-478f-a50c-6543fd88c657" providerId="ADAL" clId="{C3295FBD-69E7-4C19-87B1-56C8457354BA}" dt="2025-05-07T09:36:09.482" v="79785" actId="14100"/>
      <pc:docMkLst>
        <pc:docMk/>
      </pc:docMkLst>
      <pc:sldChg chg="addSp delSp modSp mod modClrScheme modCm chgLayout modNotesTx">
        <pc:chgData name="Magali Aurand" userId="8e613f04-88c6-478f-a50c-6543fd88c657" providerId="ADAL" clId="{C3295FBD-69E7-4C19-87B1-56C8457354BA}" dt="2025-04-09T13:21:35.495" v="71880" actId="20577"/>
        <pc:sldMkLst>
          <pc:docMk/>
          <pc:sldMk cId="3841744610" sldId="2147376621"/>
        </pc:sldMkLst>
        <pc:spChg chg="mod ord">
          <ac:chgData name="Magali Aurand" userId="8e613f04-88c6-478f-a50c-6543fd88c657" providerId="ADAL" clId="{C3295FBD-69E7-4C19-87B1-56C8457354BA}" dt="2025-04-09T13:21:30.757" v="71846" actId="948"/>
          <ac:spMkLst>
            <pc:docMk/>
            <pc:sldMk cId="3841744610" sldId="2147376621"/>
            <ac:spMk id="2" creationId="{02E56D7C-3E17-E2A6-9EFD-57813F51E96C}"/>
          </ac:spMkLst>
        </pc:spChg>
        <pc:spChg chg="mod ord">
          <ac:chgData name="Magali Aurand" userId="8e613f04-88c6-478f-a50c-6543fd88c657" providerId="ADAL" clId="{C3295FBD-69E7-4C19-87B1-56C8457354BA}" dt="2025-04-09T13:21:35.495" v="71880" actId="20577"/>
          <ac:spMkLst>
            <pc:docMk/>
            <pc:sldMk cId="3841744610" sldId="2147376621"/>
            <ac:spMk id="4" creationId="{B175B953-D86C-D2CA-C46C-B3786F296C57}"/>
          </ac:spMkLst>
        </pc:spChg>
        <pc:graphicFrameChg chg="mod">
          <ac:chgData name="Magali Aurand" userId="8e613f04-88c6-478f-a50c-6543fd88c657" providerId="ADAL" clId="{C3295FBD-69E7-4C19-87B1-56C8457354BA}" dt="2025-04-09T13:21:30.785" v="71870"/>
          <ac:graphicFrameMkLst>
            <pc:docMk/>
            <pc:sldMk cId="3841744610" sldId="2147376621"/>
            <ac:graphicFrameMk id="6" creationId="{B95FB226-8705-90A2-032A-162AF0766C29}"/>
          </ac:graphicFrameMkLst>
        </pc:graphicFrameChg>
        <pc:extLst>
          <p:ext xmlns:p="http://schemas.openxmlformats.org/presentationml/2006/main" uri="{D6D511B9-2390-475A-947B-AFAB55BFBCF1}">
            <pc226:cmChg xmlns:pc226="http://schemas.microsoft.com/office/powerpoint/2022/06/main/command" chg="mod">
              <pc226:chgData name="Magali Aurand" userId="8e613f04-88c6-478f-a50c-6543fd88c657" providerId="ADAL" clId="{C3295FBD-69E7-4C19-87B1-56C8457354BA}" dt="2025-04-09T13:21:30.248" v="71845" actId="20577"/>
              <pc2:cmMkLst xmlns:pc2="http://schemas.microsoft.com/office/powerpoint/2019/9/main/command">
                <pc:docMk/>
                <pc:sldMk cId="3841744610" sldId="2147376621"/>
                <pc2:cmMk id="{48A8C501-2015-4211-BB28-2C30939BB3CE}"/>
              </pc2:cmMkLst>
            </pc226:cmChg>
          </p:ext>
        </pc:extLst>
      </pc:sldChg>
      <pc:sldChg chg="addSp delSp modSp new mod modClrScheme chgLayout">
        <pc:chgData name="Magali Aurand" userId="8e613f04-88c6-478f-a50c-6543fd88c657" providerId="ADAL" clId="{C3295FBD-69E7-4C19-87B1-56C8457354BA}" dt="2025-04-08T13:18:34.081" v="67246" actId="20577"/>
        <pc:sldMkLst>
          <pc:docMk/>
          <pc:sldMk cId="3313277502" sldId="2147376622"/>
        </pc:sldMkLst>
        <pc:spChg chg="add mod ord">
          <ac:chgData name="Magali Aurand" userId="8e613f04-88c6-478f-a50c-6543fd88c657" providerId="ADAL" clId="{C3295FBD-69E7-4C19-87B1-56C8457354BA}" dt="2025-02-25T14:57:19.355" v="342" actId="948"/>
          <ac:spMkLst>
            <pc:docMk/>
            <pc:sldMk cId="3313277502" sldId="2147376622"/>
            <ac:spMk id="6" creationId="{31B569AF-D1FC-37CF-90A2-2FE51EDE245D}"/>
          </ac:spMkLst>
        </pc:spChg>
        <pc:spChg chg="add mod ord">
          <ac:chgData name="Magali Aurand" userId="8e613f04-88c6-478f-a50c-6543fd88c657" providerId="ADAL" clId="{C3295FBD-69E7-4C19-87B1-56C8457354BA}" dt="2025-04-08T13:18:34.081" v="67246" actId="20577"/>
          <ac:spMkLst>
            <pc:docMk/>
            <pc:sldMk cId="3313277502" sldId="2147376622"/>
            <ac:spMk id="7" creationId="{8CFC1FBD-E566-694F-4742-E22F3016C650}"/>
          </ac:spMkLst>
        </pc:spChg>
        <pc:graphicFrameChg chg="add mod ord modVis">
          <ac:chgData name="Magali Aurand" userId="8e613f04-88c6-478f-a50c-6543fd88c657" providerId="ADAL" clId="{C3295FBD-69E7-4C19-87B1-56C8457354BA}" dt="2025-02-25T14:57:19.372" v="366"/>
          <ac:graphicFrameMkLst>
            <pc:docMk/>
            <pc:sldMk cId="3313277502" sldId="2147376622"/>
            <ac:graphicFrameMk id="5" creationId="{27495D45-9897-C324-9B32-2DE0D082BA24}"/>
          </ac:graphicFrameMkLst>
        </pc:graphicFrameChg>
      </pc:sldChg>
      <pc:sldChg chg="addSp modSp new mod">
        <pc:chgData name="Magali Aurand" userId="8e613f04-88c6-478f-a50c-6543fd88c657" providerId="ADAL" clId="{C3295FBD-69E7-4C19-87B1-56C8457354BA}" dt="2025-04-08T13:18:41.095" v="67266" actId="20577"/>
        <pc:sldMkLst>
          <pc:docMk/>
          <pc:sldMk cId="1164482724" sldId="2147376623"/>
        </pc:sldMkLst>
        <pc:spChg chg="add mod">
          <ac:chgData name="Magali Aurand" userId="8e613f04-88c6-478f-a50c-6543fd88c657" providerId="ADAL" clId="{C3295FBD-69E7-4C19-87B1-56C8457354BA}" dt="2025-04-08T13:18:41.095" v="67266" actId="20577"/>
          <ac:spMkLst>
            <pc:docMk/>
            <pc:sldMk cId="1164482724" sldId="2147376623"/>
            <ac:spMk id="2" creationId="{A42A796E-FA92-75BB-0670-6AB894D9738E}"/>
          </ac:spMkLst>
        </pc:spChg>
      </pc:sldChg>
      <pc:sldChg chg="addSp delSp modSp new mod modClrScheme modCm chgLayout">
        <pc:chgData name="Magali Aurand" userId="8e613f04-88c6-478f-a50c-6543fd88c657" providerId="ADAL" clId="{C3295FBD-69E7-4C19-87B1-56C8457354BA}" dt="2025-04-09T13:21:56.624" v="71884" actId="20577"/>
        <pc:sldMkLst>
          <pc:docMk/>
          <pc:sldMk cId="3989600831" sldId="2147376624"/>
        </pc:sldMkLst>
        <pc:spChg chg="add mod ord">
          <ac:chgData name="Magali Aurand" userId="8e613f04-88c6-478f-a50c-6543fd88c657" providerId="ADAL" clId="{C3295FBD-69E7-4C19-87B1-56C8457354BA}" dt="2025-04-08T09:06:54.468" v="60071"/>
          <ac:spMkLst>
            <pc:docMk/>
            <pc:sldMk cId="3989600831" sldId="2147376624"/>
            <ac:spMk id="2" creationId="{06336478-23DB-362C-5BEF-A3D2DE88EB87}"/>
          </ac:spMkLst>
        </pc:spChg>
        <pc:spChg chg="add mod ord">
          <ac:chgData name="Magali Aurand" userId="8e613f04-88c6-478f-a50c-6543fd88c657" providerId="ADAL" clId="{C3295FBD-69E7-4C19-87B1-56C8457354BA}" dt="2025-04-08T09:19:25.955" v="61512" actId="1036"/>
          <ac:spMkLst>
            <pc:docMk/>
            <pc:sldMk cId="3989600831" sldId="2147376624"/>
            <ac:spMk id="7" creationId="{FBAF4690-AAFC-EEF8-D8FC-AC8BD2D3F74B}"/>
          </ac:spMkLst>
        </pc:spChg>
        <pc:spChg chg="add mod ord">
          <ac:chgData name="Magali Aurand" userId="8e613f04-88c6-478f-a50c-6543fd88c657" providerId="ADAL" clId="{C3295FBD-69E7-4C19-87B1-56C8457354BA}" dt="2025-04-09T13:21:56.624" v="71884" actId="20577"/>
          <ac:spMkLst>
            <pc:docMk/>
            <pc:sldMk cId="3989600831" sldId="2147376624"/>
            <ac:spMk id="11" creationId="{AB2ED6FF-600D-4046-A920-7111BF7D0016}"/>
          </ac:spMkLst>
        </pc:spChg>
        <pc:spChg chg="add mod ord">
          <ac:chgData name="Magali Aurand" userId="8e613f04-88c6-478f-a50c-6543fd88c657" providerId="ADAL" clId="{C3295FBD-69E7-4C19-87B1-56C8457354BA}" dt="2025-04-08T09:19:25.955" v="61512" actId="1036"/>
          <ac:spMkLst>
            <pc:docMk/>
            <pc:sldMk cId="3989600831" sldId="2147376624"/>
            <ac:spMk id="13" creationId="{95C76A35-4384-EAC3-0695-CD3B02501475}"/>
          </ac:spMkLst>
        </pc:spChg>
        <pc:graphicFrameChg chg="add mod ord modVis">
          <ac:chgData name="Magali Aurand" userId="8e613f04-88c6-478f-a50c-6543fd88c657" providerId="ADAL" clId="{C3295FBD-69E7-4C19-87B1-56C8457354BA}" dt="2025-04-08T09:06:54.476" v="60079"/>
          <ac:graphicFrameMkLst>
            <pc:docMk/>
            <pc:sldMk cId="3989600831" sldId="2147376624"/>
            <ac:graphicFrameMk id="5" creationId="{59D5D02D-1F3B-7605-6F1E-650DACBCD09B}"/>
          </ac:graphicFrameMkLst>
        </pc:graphicFrameChg>
        <pc:picChg chg="add mod ord">
          <ac:chgData name="Magali Aurand" userId="8e613f04-88c6-478f-a50c-6543fd88c657" providerId="ADAL" clId="{C3295FBD-69E7-4C19-87B1-56C8457354BA}" dt="2025-04-08T09:19:25.955" v="61512" actId="1036"/>
          <ac:picMkLst>
            <pc:docMk/>
            <pc:sldMk cId="3989600831" sldId="2147376624"/>
            <ac:picMk id="9" creationId="{185C576E-4BE7-1BB4-3807-C5E3F49C5F84}"/>
          </ac:picMkLst>
        </pc:picChg>
        <pc:extLst>
          <p:ext xmlns:p="http://schemas.openxmlformats.org/presentationml/2006/main" uri="{D6D511B9-2390-475A-947B-AFAB55BFBCF1}">
            <pc226:cmChg xmlns:pc226="http://schemas.microsoft.com/office/powerpoint/2022/06/main/command" chg="mod">
              <pc226:chgData name="Magali Aurand" userId="8e613f04-88c6-478f-a50c-6543fd88c657" providerId="ADAL" clId="{C3295FBD-69E7-4C19-87B1-56C8457354BA}" dt="2025-04-09T13:21:56.624" v="71884" actId="20577"/>
              <pc2:cmMkLst xmlns:pc2="http://schemas.microsoft.com/office/powerpoint/2019/9/main/command">
                <pc:docMk/>
                <pc:sldMk cId="3989600831" sldId="2147376624"/>
                <pc2:cmMk id="{AECDE4A0-A868-4943-BAC9-FCCA192CC474}"/>
              </pc2:cmMkLst>
            </pc226:cmChg>
          </p:ext>
        </pc:extLst>
      </pc:sldChg>
      <pc:sldChg chg="addSp delSp modSp add mod ord modCm">
        <pc:chgData name="Magali Aurand" userId="8e613f04-88c6-478f-a50c-6543fd88c657" providerId="ADAL" clId="{C3295FBD-69E7-4C19-87B1-56C8457354BA}" dt="2025-04-09T13:22:50.610" v="71902" actId="20577"/>
        <pc:sldMkLst>
          <pc:docMk/>
          <pc:sldMk cId="3290690944" sldId="2147376625"/>
        </pc:sldMkLst>
        <pc:spChg chg="mod">
          <ac:chgData name="Magali Aurand" userId="8e613f04-88c6-478f-a50c-6543fd88c657" providerId="ADAL" clId="{C3295FBD-69E7-4C19-87B1-56C8457354BA}" dt="2025-02-25T17:03:43.223" v="943" actId="948"/>
          <ac:spMkLst>
            <pc:docMk/>
            <pc:sldMk cId="3290690944" sldId="2147376625"/>
            <ac:spMk id="2" creationId="{06336478-23DB-362C-5BEF-A3D2DE88EB87}"/>
          </ac:spMkLst>
        </pc:spChg>
        <pc:spChg chg="add mod">
          <ac:chgData name="Magali Aurand" userId="8e613f04-88c6-478f-a50c-6543fd88c657" providerId="ADAL" clId="{C3295FBD-69E7-4C19-87B1-56C8457354BA}" dt="2025-04-01T16:49:55.418" v="59319" actId="1076"/>
          <ac:spMkLst>
            <pc:docMk/>
            <pc:sldMk cId="3290690944" sldId="2147376625"/>
            <ac:spMk id="10" creationId="{4C521EB0-4387-66A3-F6D6-530638B7C33A}"/>
          </ac:spMkLst>
        </pc:spChg>
        <pc:spChg chg="add mod">
          <ac:chgData name="Magali Aurand" userId="8e613f04-88c6-478f-a50c-6543fd88c657" providerId="ADAL" clId="{C3295FBD-69E7-4C19-87B1-56C8457354BA}" dt="2025-04-01T16:32:05.852" v="58163" actId="2711"/>
          <ac:spMkLst>
            <pc:docMk/>
            <pc:sldMk cId="3290690944" sldId="2147376625"/>
            <ac:spMk id="11" creationId="{7457994C-1AF3-0E36-3B78-560D848B4ACE}"/>
          </ac:spMkLst>
        </pc:spChg>
        <pc:spChg chg="add mod">
          <ac:chgData name="Magali Aurand" userId="8e613f04-88c6-478f-a50c-6543fd88c657" providerId="ADAL" clId="{C3295FBD-69E7-4C19-87B1-56C8457354BA}" dt="2025-04-01T16:32:05.852" v="58163" actId="2711"/>
          <ac:spMkLst>
            <pc:docMk/>
            <pc:sldMk cId="3290690944" sldId="2147376625"/>
            <ac:spMk id="12" creationId="{B3A1CB48-38CB-0BE3-CB43-E1EFEF588343}"/>
          </ac:spMkLst>
        </pc:spChg>
        <pc:spChg chg="add mod">
          <ac:chgData name="Magali Aurand" userId="8e613f04-88c6-478f-a50c-6543fd88c657" providerId="ADAL" clId="{C3295FBD-69E7-4C19-87B1-56C8457354BA}" dt="2025-04-01T16:32:05.852" v="58163" actId="2711"/>
          <ac:spMkLst>
            <pc:docMk/>
            <pc:sldMk cId="3290690944" sldId="2147376625"/>
            <ac:spMk id="16" creationId="{EA3844AD-26AA-21C0-F1F1-463BAC56D9A6}"/>
          </ac:spMkLst>
        </pc:spChg>
        <pc:spChg chg="add mod">
          <ac:chgData name="Magali Aurand" userId="8e613f04-88c6-478f-a50c-6543fd88c657" providerId="ADAL" clId="{C3295FBD-69E7-4C19-87B1-56C8457354BA}" dt="2025-04-09T13:22:50.610" v="71902" actId="20577"/>
          <ac:spMkLst>
            <pc:docMk/>
            <pc:sldMk cId="3290690944" sldId="2147376625"/>
            <ac:spMk id="17" creationId="{A40F7CF4-B882-77D2-6B16-64B867067386}"/>
          </ac:spMkLst>
        </pc:spChg>
        <pc:spChg chg="add mod">
          <ac:chgData name="Magali Aurand" userId="8e613f04-88c6-478f-a50c-6543fd88c657" providerId="ADAL" clId="{C3295FBD-69E7-4C19-87B1-56C8457354BA}" dt="2025-04-02T10:54:56.637" v="59656" actId="20577"/>
          <ac:spMkLst>
            <pc:docMk/>
            <pc:sldMk cId="3290690944" sldId="2147376625"/>
            <ac:spMk id="18" creationId="{F9F980F0-A96B-54CA-441A-306A6A83ABA7}"/>
          </ac:spMkLst>
        </pc:spChg>
        <pc:spChg chg="add mod">
          <ac:chgData name="Magali Aurand" userId="8e613f04-88c6-478f-a50c-6543fd88c657" providerId="ADAL" clId="{C3295FBD-69E7-4C19-87B1-56C8457354BA}" dt="2025-04-01T16:55:01.462" v="59381" actId="20577"/>
          <ac:spMkLst>
            <pc:docMk/>
            <pc:sldMk cId="3290690944" sldId="2147376625"/>
            <ac:spMk id="20" creationId="{AEFD3549-7813-4192-6362-C0F7B3D54994}"/>
          </ac:spMkLst>
        </pc:spChg>
        <pc:spChg chg="add mod">
          <ac:chgData name="Magali Aurand" userId="8e613f04-88c6-478f-a50c-6543fd88c657" providerId="ADAL" clId="{C3295FBD-69E7-4C19-87B1-56C8457354BA}" dt="2025-04-01T16:50:01.281" v="59320" actId="12788"/>
          <ac:spMkLst>
            <pc:docMk/>
            <pc:sldMk cId="3290690944" sldId="2147376625"/>
            <ac:spMk id="22" creationId="{10B15CD2-3F84-A267-15D9-F86CE8522ECC}"/>
          </ac:spMkLst>
        </pc:spChg>
        <pc:spChg chg="add mod">
          <ac:chgData name="Magali Aurand" userId="8e613f04-88c6-478f-a50c-6543fd88c657" providerId="ADAL" clId="{C3295FBD-69E7-4C19-87B1-56C8457354BA}" dt="2025-04-01T16:50:01.281" v="59320" actId="12788"/>
          <ac:spMkLst>
            <pc:docMk/>
            <pc:sldMk cId="3290690944" sldId="2147376625"/>
            <ac:spMk id="23" creationId="{73747862-EF42-348F-CDB9-496D1B06BEE9}"/>
          </ac:spMkLst>
        </pc:spChg>
        <pc:spChg chg="add mod">
          <ac:chgData name="Magali Aurand" userId="8e613f04-88c6-478f-a50c-6543fd88c657" providerId="ADAL" clId="{C3295FBD-69E7-4C19-87B1-56C8457354BA}" dt="2025-04-01T16:50:01.281" v="59320" actId="12788"/>
          <ac:spMkLst>
            <pc:docMk/>
            <pc:sldMk cId="3290690944" sldId="2147376625"/>
            <ac:spMk id="24" creationId="{7FB4E9EB-AD9E-1483-5FCE-32E7B1847CB6}"/>
          </ac:spMkLst>
        </pc:spChg>
        <pc:spChg chg="add mod">
          <ac:chgData name="Magali Aurand" userId="8e613f04-88c6-478f-a50c-6543fd88c657" providerId="ADAL" clId="{C3295FBD-69E7-4C19-87B1-56C8457354BA}" dt="2025-04-01T16:50:01.281" v="59320" actId="12788"/>
          <ac:spMkLst>
            <pc:docMk/>
            <pc:sldMk cId="3290690944" sldId="2147376625"/>
            <ac:spMk id="25" creationId="{F1253F6A-139D-8C74-3862-C4FA5CAD0030}"/>
          </ac:spMkLst>
        </pc:spChg>
        <pc:spChg chg="add mod">
          <ac:chgData name="Magali Aurand" userId="8e613f04-88c6-478f-a50c-6543fd88c657" providerId="ADAL" clId="{C3295FBD-69E7-4C19-87B1-56C8457354BA}" dt="2025-04-01T16:50:01.281" v="59320" actId="12788"/>
          <ac:spMkLst>
            <pc:docMk/>
            <pc:sldMk cId="3290690944" sldId="2147376625"/>
            <ac:spMk id="26" creationId="{E31D890A-DF54-EFF6-032D-1D67EACDD325}"/>
          </ac:spMkLst>
        </pc:spChg>
        <pc:graphicFrameChg chg="mod">
          <ac:chgData name="Magali Aurand" userId="8e613f04-88c6-478f-a50c-6543fd88c657" providerId="ADAL" clId="{C3295FBD-69E7-4C19-87B1-56C8457354BA}" dt="2025-02-25T17:03:43.243" v="967"/>
          <ac:graphicFrameMkLst>
            <pc:docMk/>
            <pc:sldMk cId="3290690944" sldId="2147376625"/>
            <ac:graphicFrameMk id="5" creationId="{59D5D02D-1F3B-7605-6F1E-650DACBCD09B}"/>
          </ac:graphicFrameMkLst>
        </pc:graphicFrameChg>
        <pc:cxnChg chg="add mod">
          <ac:chgData name="Magali Aurand" userId="8e613f04-88c6-478f-a50c-6543fd88c657" providerId="ADAL" clId="{C3295FBD-69E7-4C19-87B1-56C8457354BA}" dt="2025-04-01T16:50:20.060" v="59324" actId="1582"/>
          <ac:cxnSpMkLst>
            <pc:docMk/>
            <pc:sldMk cId="3290690944" sldId="2147376625"/>
            <ac:cxnSpMk id="28" creationId="{48B09AD3-CE7F-EBD1-D54C-20E5C88F8803}"/>
          </ac:cxnSpMkLst>
        </pc:cxnChg>
        <pc:cxnChg chg="add mod">
          <ac:chgData name="Magali Aurand" userId="8e613f04-88c6-478f-a50c-6543fd88c657" providerId="ADAL" clId="{C3295FBD-69E7-4C19-87B1-56C8457354BA}" dt="2025-04-01T16:50:34.475" v="59328" actId="14100"/>
          <ac:cxnSpMkLst>
            <pc:docMk/>
            <pc:sldMk cId="3290690944" sldId="2147376625"/>
            <ac:cxnSpMk id="32" creationId="{4C565926-ACF3-C7FE-4387-94AD0D6A102E}"/>
          </ac:cxnSpMkLst>
        </pc:cxnChg>
        <pc:cxnChg chg="add mod">
          <ac:chgData name="Magali Aurand" userId="8e613f04-88c6-478f-a50c-6543fd88c657" providerId="ADAL" clId="{C3295FBD-69E7-4C19-87B1-56C8457354BA}" dt="2025-04-01T16:50:47.164" v="59332" actId="14100"/>
          <ac:cxnSpMkLst>
            <pc:docMk/>
            <pc:sldMk cId="3290690944" sldId="2147376625"/>
            <ac:cxnSpMk id="35" creationId="{13EEBFBD-B836-6DBE-DC2A-E2E0F22E4015}"/>
          </ac:cxnSpMkLst>
        </pc:cxnChg>
        <pc:cxnChg chg="add mod">
          <ac:chgData name="Magali Aurand" userId="8e613f04-88c6-478f-a50c-6543fd88c657" providerId="ADAL" clId="{C3295FBD-69E7-4C19-87B1-56C8457354BA}" dt="2025-04-01T16:51:02.026" v="59336" actId="14100"/>
          <ac:cxnSpMkLst>
            <pc:docMk/>
            <pc:sldMk cId="3290690944" sldId="2147376625"/>
            <ac:cxnSpMk id="38" creationId="{07967F9A-7689-2098-5026-128B8C8B68C8}"/>
          </ac:cxnSpMkLst>
        </pc:cxnChg>
        <pc:cxnChg chg="add mod">
          <ac:chgData name="Magali Aurand" userId="8e613f04-88c6-478f-a50c-6543fd88c657" providerId="ADAL" clId="{C3295FBD-69E7-4C19-87B1-56C8457354BA}" dt="2025-04-01T16:51:43.688" v="59340" actId="1582"/>
          <ac:cxnSpMkLst>
            <pc:docMk/>
            <pc:sldMk cId="3290690944" sldId="2147376625"/>
            <ac:cxnSpMk id="42" creationId="{D80C5344-4E8F-D47F-6F92-ED9281EA38FA}"/>
          </ac:cxnSpMkLst>
        </pc:cxnChg>
        <pc:cxnChg chg="add del mod">
          <ac:chgData name="Magali Aurand" userId="8e613f04-88c6-478f-a50c-6543fd88c657" providerId="ADAL" clId="{C3295FBD-69E7-4C19-87B1-56C8457354BA}" dt="2025-04-01T16:53:47.455" v="59374" actId="1036"/>
          <ac:cxnSpMkLst>
            <pc:docMk/>
            <pc:sldMk cId="3290690944" sldId="2147376625"/>
            <ac:cxnSpMk id="45" creationId="{08B44111-A6C2-31E3-1F76-D80D439CC944}"/>
          </ac:cxnSpMkLst>
        </pc:cxnChg>
        <pc:extLst>
          <p:ext xmlns:p="http://schemas.openxmlformats.org/presentationml/2006/main" uri="{D6D511B9-2390-475A-947B-AFAB55BFBCF1}">
            <pc226:cmChg xmlns:pc226="http://schemas.microsoft.com/office/powerpoint/2022/06/main/command" chg="mod">
              <pc226:chgData name="Magali Aurand" userId="8e613f04-88c6-478f-a50c-6543fd88c657" providerId="ADAL" clId="{C3295FBD-69E7-4C19-87B1-56C8457354BA}" dt="2025-04-09T13:22:50.610" v="71902" actId="20577"/>
              <pc2:cmMkLst xmlns:pc2="http://schemas.microsoft.com/office/powerpoint/2019/9/main/command">
                <pc:docMk/>
                <pc:sldMk cId="3290690944" sldId="2147376625"/>
                <pc2:cmMk id="{0B86F707-E322-4A75-A298-56086BE9B9D9}"/>
              </pc2:cmMkLst>
            </pc226:cmChg>
          </p:ext>
        </pc:extLst>
      </pc:sldChg>
      <pc:sldChg chg="modSp add mod">
        <pc:chgData name="Magali Aurand" userId="8e613f04-88c6-478f-a50c-6543fd88c657" providerId="ADAL" clId="{C3295FBD-69E7-4C19-87B1-56C8457354BA}" dt="2025-02-25T17:04:00.966" v="995" actId="20577"/>
        <pc:sldMkLst>
          <pc:docMk/>
          <pc:sldMk cId="1554484614" sldId="2147376626"/>
        </pc:sldMkLst>
        <pc:spChg chg="mod">
          <ac:chgData name="Magali Aurand" userId="8e613f04-88c6-478f-a50c-6543fd88c657" providerId="ADAL" clId="{C3295FBD-69E7-4C19-87B1-56C8457354BA}" dt="2025-02-25T17:04:00.966" v="995" actId="20577"/>
          <ac:spMkLst>
            <pc:docMk/>
            <pc:sldMk cId="1554484614" sldId="2147376626"/>
            <ac:spMk id="2" creationId="{A42A796E-FA92-75BB-0670-6AB894D9738E}"/>
          </ac:spMkLst>
        </pc:spChg>
      </pc:sldChg>
      <pc:sldChg chg="modSp add mod">
        <pc:chgData name="Magali Aurand" userId="8e613f04-88c6-478f-a50c-6543fd88c657" providerId="ADAL" clId="{C3295FBD-69E7-4C19-87B1-56C8457354BA}" dt="2025-04-01T16:55:52.330" v="59425" actId="20577"/>
        <pc:sldMkLst>
          <pc:docMk/>
          <pc:sldMk cId="1651724397" sldId="2147376627"/>
        </pc:sldMkLst>
        <pc:spChg chg="mod">
          <ac:chgData name="Magali Aurand" userId="8e613f04-88c6-478f-a50c-6543fd88c657" providerId="ADAL" clId="{C3295FBD-69E7-4C19-87B1-56C8457354BA}" dt="2025-04-01T16:55:52.330" v="59425" actId="20577"/>
          <ac:spMkLst>
            <pc:docMk/>
            <pc:sldMk cId="1651724397" sldId="2147376627"/>
            <ac:spMk id="2" creationId="{A42A796E-FA92-75BB-0670-6AB894D9738E}"/>
          </ac:spMkLst>
        </pc:spChg>
      </pc:sldChg>
      <pc:sldChg chg="modSp add mod">
        <pc:chgData name="Magali Aurand" userId="8e613f04-88c6-478f-a50c-6543fd88c657" providerId="ADAL" clId="{C3295FBD-69E7-4C19-87B1-56C8457354BA}" dt="2025-04-08T10:12:07.253" v="63191" actId="20577"/>
        <pc:sldMkLst>
          <pc:docMk/>
          <pc:sldMk cId="3761061344" sldId="2147376628"/>
        </pc:sldMkLst>
        <pc:spChg chg="mod">
          <ac:chgData name="Magali Aurand" userId="8e613f04-88c6-478f-a50c-6543fd88c657" providerId="ADAL" clId="{C3295FBD-69E7-4C19-87B1-56C8457354BA}" dt="2025-04-08T10:12:07.253" v="63191" actId="20577"/>
          <ac:spMkLst>
            <pc:docMk/>
            <pc:sldMk cId="3761061344" sldId="2147376628"/>
            <ac:spMk id="2" creationId="{A42A796E-FA92-75BB-0670-6AB894D9738E}"/>
          </ac:spMkLst>
        </pc:spChg>
      </pc:sldChg>
      <pc:sldChg chg="del">
        <pc:chgData name="Magali Aurand" userId="8e613f04-88c6-478f-a50c-6543fd88c657" providerId="ADAL" clId="{C3295FBD-69E7-4C19-87B1-56C8457354BA}" dt="2025-02-25T14:55:36.224" v="206" actId="47"/>
        <pc:sldMkLst>
          <pc:docMk/>
          <pc:sldMk cId="711272269" sldId="2147376629"/>
        </pc:sldMkLst>
      </pc:sldChg>
      <pc:sldChg chg="addSp delSp modSp add mod modNotesTx">
        <pc:chgData name="Magali Aurand" userId="8e613f04-88c6-478f-a50c-6543fd88c657" providerId="ADAL" clId="{C3295FBD-69E7-4C19-87B1-56C8457354BA}" dt="2025-04-08T11:56:09.404" v="67143" actId="1036"/>
        <pc:sldMkLst>
          <pc:docMk/>
          <pc:sldMk cId="2663002285" sldId="2147376629"/>
        </pc:sldMkLst>
        <pc:spChg chg="mod">
          <ac:chgData name="Magali Aurand" userId="8e613f04-88c6-478f-a50c-6543fd88c657" providerId="ADAL" clId="{C3295FBD-69E7-4C19-87B1-56C8457354BA}" dt="2025-02-27T16:00:03.234" v="3550" actId="948"/>
          <ac:spMkLst>
            <pc:docMk/>
            <pc:sldMk cId="2663002285" sldId="2147376629"/>
            <ac:spMk id="2" creationId="{06336478-23DB-362C-5BEF-A3D2DE88EB87}"/>
          </ac:spMkLst>
        </pc:spChg>
        <pc:spChg chg="add mod">
          <ac:chgData name="Magali Aurand" userId="8e613f04-88c6-478f-a50c-6543fd88c657" providerId="ADAL" clId="{C3295FBD-69E7-4C19-87B1-56C8457354BA}" dt="2025-04-08T11:56:00.584" v="67135" actId="20577"/>
          <ac:spMkLst>
            <pc:docMk/>
            <pc:sldMk cId="2663002285" sldId="2147376629"/>
            <ac:spMk id="3" creationId="{47BEAC90-C8F8-DD7B-379B-A8F675A9D740}"/>
          </ac:spMkLst>
        </pc:spChg>
        <pc:graphicFrameChg chg="mod">
          <ac:chgData name="Magali Aurand" userId="8e613f04-88c6-478f-a50c-6543fd88c657" providerId="ADAL" clId="{C3295FBD-69E7-4C19-87B1-56C8457354BA}" dt="2025-02-27T16:00:03.269" v="3574"/>
          <ac:graphicFrameMkLst>
            <pc:docMk/>
            <pc:sldMk cId="2663002285" sldId="2147376629"/>
            <ac:graphicFrameMk id="5" creationId="{59D5D02D-1F3B-7605-6F1E-650DACBCD09B}"/>
          </ac:graphicFrameMkLst>
        </pc:graphicFrameChg>
        <pc:graphicFrameChg chg="add mod ord modGraphic">
          <ac:chgData name="Magali Aurand" userId="8e613f04-88c6-478f-a50c-6543fd88c657" providerId="ADAL" clId="{C3295FBD-69E7-4C19-87B1-56C8457354BA}" dt="2025-04-08T11:56:09.404" v="67143" actId="1036"/>
          <ac:graphicFrameMkLst>
            <pc:docMk/>
            <pc:sldMk cId="2663002285" sldId="2147376629"/>
            <ac:graphicFrameMk id="8" creationId="{7DE1326B-5692-3308-18B7-0D82F3D5A40C}"/>
          </ac:graphicFrameMkLst>
        </pc:graphicFrameChg>
      </pc:sldChg>
      <pc:sldChg chg="addSp delSp modSp new mod ord modClrScheme chgLayout modNotesTx">
        <pc:chgData name="Magali Aurand" userId="8e613f04-88c6-478f-a50c-6543fd88c657" providerId="ADAL" clId="{C3295FBD-69E7-4C19-87B1-56C8457354BA}" dt="2025-04-08T11:17:00.041" v="65587" actId="113"/>
        <pc:sldMkLst>
          <pc:docMk/>
          <pc:sldMk cId="49508319" sldId="2147376630"/>
        </pc:sldMkLst>
        <pc:spChg chg="add mod">
          <ac:chgData name="Magali Aurand" userId="8e613f04-88c6-478f-a50c-6543fd88c657" providerId="ADAL" clId="{C3295FBD-69E7-4C19-87B1-56C8457354BA}" dt="2025-04-08T11:16:08.179" v="65536" actId="948"/>
          <ac:spMkLst>
            <pc:docMk/>
            <pc:sldMk cId="49508319" sldId="2147376630"/>
            <ac:spMk id="2" creationId="{CEFD7052-FF95-70E3-598E-94E7C174C38C}"/>
          </ac:spMkLst>
        </pc:spChg>
        <pc:spChg chg="add mod">
          <ac:chgData name="Magali Aurand" userId="8e613f04-88c6-478f-a50c-6543fd88c657" providerId="ADAL" clId="{C3295FBD-69E7-4C19-87B1-56C8457354BA}" dt="2025-04-08T11:17:00.041" v="65587" actId="113"/>
          <ac:spMkLst>
            <pc:docMk/>
            <pc:sldMk cId="49508319" sldId="2147376630"/>
            <ac:spMk id="3" creationId="{4E495BEA-208E-B8D4-C8B8-E0C25A61E784}"/>
          </ac:spMkLst>
        </pc:spChg>
        <pc:spChg chg="add mod">
          <ac:chgData name="Magali Aurand" userId="8e613f04-88c6-478f-a50c-6543fd88c657" providerId="ADAL" clId="{C3295FBD-69E7-4C19-87B1-56C8457354BA}" dt="2025-04-08T11:06:19.612" v="65359" actId="20577"/>
          <ac:spMkLst>
            <pc:docMk/>
            <pc:sldMk cId="49508319" sldId="2147376630"/>
            <ac:spMk id="8" creationId="{BD3CD362-A856-21CE-CC9C-A029E9700E2A}"/>
          </ac:spMkLst>
        </pc:spChg>
        <pc:graphicFrameChg chg="add mod ord modVis">
          <ac:chgData name="Magali Aurand" userId="8e613f04-88c6-478f-a50c-6543fd88c657" providerId="ADAL" clId="{C3295FBD-69E7-4C19-87B1-56C8457354BA}" dt="2025-04-08T11:16:08.210" v="65560"/>
          <ac:graphicFrameMkLst>
            <pc:docMk/>
            <pc:sldMk cId="49508319" sldId="2147376630"/>
            <ac:graphicFrameMk id="4" creationId="{A2CB77F9-63A2-45DC-3D2D-4E78C4CEEC36}"/>
          </ac:graphicFrameMkLst>
        </pc:graphicFrameChg>
      </pc:sldChg>
      <pc:sldChg chg="addSp delSp modSp new mod">
        <pc:chgData name="Magali Aurand" userId="8e613f04-88c6-478f-a50c-6543fd88c657" providerId="ADAL" clId="{C3295FBD-69E7-4C19-87B1-56C8457354BA}" dt="2025-04-08T14:32:29.537" v="67874" actId="404"/>
        <pc:sldMkLst>
          <pc:docMk/>
          <pc:sldMk cId="2018081501" sldId="2147376631"/>
        </pc:sldMkLst>
        <pc:spChg chg="mod ord">
          <ac:chgData name="Magali Aurand" userId="8e613f04-88c6-478f-a50c-6543fd88c657" providerId="ADAL" clId="{C3295FBD-69E7-4C19-87B1-56C8457354BA}" dt="2025-03-11T15:09:48.275" v="25404"/>
          <ac:spMkLst>
            <pc:docMk/>
            <pc:sldMk cId="2018081501" sldId="2147376631"/>
            <ac:spMk id="2" creationId="{AAB78333-CF95-917C-3E18-EF37D44B29BD}"/>
          </ac:spMkLst>
        </pc:spChg>
        <pc:spChg chg="mod ord">
          <ac:chgData name="Magali Aurand" userId="8e613f04-88c6-478f-a50c-6543fd88c657" providerId="ADAL" clId="{C3295FBD-69E7-4C19-87B1-56C8457354BA}" dt="2025-03-11T15:09:48.276" v="25406"/>
          <ac:spMkLst>
            <pc:docMk/>
            <pc:sldMk cId="2018081501" sldId="2147376631"/>
            <ac:spMk id="3" creationId="{9436DE67-484B-5EB0-5A70-702A269569D1}"/>
          </ac:spMkLst>
        </pc:spChg>
        <pc:spChg chg="mod ord">
          <ac:chgData name="Magali Aurand" userId="8e613f04-88c6-478f-a50c-6543fd88c657" providerId="ADAL" clId="{C3295FBD-69E7-4C19-87B1-56C8457354BA}" dt="2025-03-11T15:09:48.277" v="25408"/>
          <ac:spMkLst>
            <pc:docMk/>
            <pc:sldMk cId="2018081501" sldId="2147376631"/>
            <ac:spMk id="4" creationId="{DECCDBCD-21D9-E7AA-D927-60B437E6E24B}"/>
          </ac:spMkLst>
        </pc:spChg>
        <pc:spChg chg="add mod ord">
          <ac:chgData name="Magali Aurand" userId="8e613f04-88c6-478f-a50c-6543fd88c657" providerId="ADAL" clId="{C3295FBD-69E7-4C19-87B1-56C8457354BA}" dt="2025-03-11T15:30:06.315" v="25996" actId="207"/>
          <ac:spMkLst>
            <pc:docMk/>
            <pc:sldMk cId="2018081501" sldId="2147376631"/>
            <ac:spMk id="136" creationId="{6A3651F8-99B5-EBC1-6977-6A3C397DF6AF}"/>
          </ac:spMkLst>
        </pc:spChg>
        <pc:spChg chg="add mod ord">
          <ac:chgData name="Magali Aurand" userId="8e613f04-88c6-478f-a50c-6543fd88c657" providerId="ADAL" clId="{C3295FBD-69E7-4C19-87B1-56C8457354BA}" dt="2025-03-11T15:09:48.281" v="25414"/>
          <ac:spMkLst>
            <pc:docMk/>
            <pc:sldMk cId="2018081501" sldId="2147376631"/>
            <ac:spMk id="145" creationId="{B8D36A09-C47F-11C8-C3AE-4C8D5C7F88F3}"/>
          </ac:spMkLst>
        </pc:spChg>
        <pc:spChg chg="add mod">
          <ac:chgData name="Magali Aurand" userId="8e613f04-88c6-478f-a50c-6543fd88c657" providerId="ADAL" clId="{C3295FBD-69E7-4C19-87B1-56C8457354BA}" dt="2025-03-11T15:09:48.285" v="25420"/>
          <ac:spMkLst>
            <pc:docMk/>
            <pc:sldMk cId="2018081501" sldId="2147376631"/>
            <ac:spMk id="201" creationId="{BE00A414-56D5-8F20-55AD-BF43E03E8041}"/>
          </ac:spMkLst>
        </pc:spChg>
        <pc:spChg chg="add mod">
          <ac:chgData name="Magali Aurand" userId="8e613f04-88c6-478f-a50c-6543fd88c657" providerId="ADAL" clId="{C3295FBD-69E7-4C19-87B1-56C8457354BA}" dt="2025-03-11T15:09:48.286" v="25421"/>
          <ac:spMkLst>
            <pc:docMk/>
            <pc:sldMk cId="2018081501" sldId="2147376631"/>
            <ac:spMk id="202" creationId="{88A8E49B-D399-1F57-3B7F-CFD8BA47D15C}"/>
          </ac:spMkLst>
        </pc:spChg>
        <pc:spChg chg="add mod">
          <ac:chgData name="Magali Aurand" userId="8e613f04-88c6-478f-a50c-6543fd88c657" providerId="ADAL" clId="{C3295FBD-69E7-4C19-87B1-56C8457354BA}" dt="2025-03-11T15:09:48.283" v="25417"/>
          <ac:spMkLst>
            <pc:docMk/>
            <pc:sldMk cId="2018081501" sldId="2147376631"/>
            <ac:spMk id="223" creationId="{37616676-3CBC-C9CB-8ACF-9C71E095075D}"/>
          </ac:spMkLst>
        </pc:spChg>
        <pc:spChg chg="add mod">
          <ac:chgData name="Magali Aurand" userId="8e613f04-88c6-478f-a50c-6543fd88c657" providerId="ADAL" clId="{C3295FBD-69E7-4C19-87B1-56C8457354BA}" dt="2025-03-11T15:09:48.283" v="25416"/>
          <ac:spMkLst>
            <pc:docMk/>
            <pc:sldMk cId="2018081501" sldId="2147376631"/>
            <ac:spMk id="229" creationId="{B066F999-EDD7-ED82-BADE-835F8F10FED9}"/>
          </ac:spMkLst>
        </pc:spChg>
        <pc:spChg chg="add mod ord">
          <ac:chgData name="Magali Aurand" userId="8e613f04-88c6-478f-a50c-6543fd88c657" providerId="ADAL" clId="{C3295FBD-69E7-4C19-87B1-56C8457354BA}" dt="2025-03-11T15:09:48.284" v="25418"/>
          <ac:spMkLst>
            <pc:docMk/>
            <pc:sldMk cId="2018081501" sldId="2147376631"/>
            <ac:spMk id="237" creationId="{86E3387E-BA2D-B507-6A37-E019E0033896}"/>
          </ac:spMkLst>
        </pc:spChg>
        <pc:spChg chg="add mod ord">
          <ac:chgData name="Magali Aurand" userId="8e613f04-88c6-478f-a50c-6543fd88c657" providerId="ADAL" clId="{C3295FBD-69E7-4C19-87B1-56C8457354BA}" dt="2025-03-11T15:09:48.285" v="25419"/>
          <ac:spMkLst>
            <pc:docMk/>
            <pc:sldMk cId="2018081501" sldId="2147376631"/>
            <ac:spMk id="238" creationId="{3BCB2175-16B1-25F8-0995-8317479CCC3B}"/>
          </ac:spMkLst>
        </pc:spChg>
        <pc:spChg chg="add mod ord">
          <ac:chgData name="Magali Aurand" userId="8e613f04-88c6-478f-a50c-6543fd88c657" providerId="ADAL" clId="{C3295FBD-69E7-4C19-87B1-56C8457354BA}" dt="2025-03-11T15:30:09.024" v="25997" actId="207"/>
          <ac:spMkLst>
            <pc:docMk/>
            <pc:sldMk cId="2018081501" sldId="2147376631"/>
            <ac:spMk id="244" creationId="{E1962E29-5AAC-A271-AF53-702F1B7470FA}"/>
          </ac:spMkLst>
        </pc:spChg>
        <pc:spChg chg="add mod ord">
          <ac:chgData name="Magali Aurand" userId="8e613f04-88c6-478f-a50c-6543fd88c657" providerId="ADAL" clId="{C3295FBD-69E7-4C19-87B1-56C8457354BA}" dt="2025-04-08T14:32:29.537" v="67874" actId="404"/>
          <ac:spMkLst>
            <pc:docMk/>
            <pc:sldMk cId="2018081501" sldId="2147376631"/>
            <ac:spMk id="264" creationId="{B7806FA3-CE98-3A1B-D358-F2F3586F2BBB}"/>
          </ac:spMkLst>
        </pc:spChg>
        <pc:graphicFrameChg chg="add mod ord modVis">
          <ac:chgData name="Magali Aurand" userId="8e613f04-88c6-478f-a50c-6543fd88c657" providerId="ADAL" clId="{C3295FBD-69E7-4C19-87B1-56C8457354BA}" dt="2025-03-11T15:09:48.290" v="25429"/>
          <ac:graphicFrameMkLst>
            <pc:docMk/>
            <pc:sldMk cId="2018081501" sldId="2147376631"/>
            <ac:graphicFrameMk id="6" creationId="{EC9CD903-CD96-9E5B-E2E7-D7103FDE4499}"/>
          </ac:graphicFrameMkLst>
        </pc:graphicFrameChg>
        <pc:graphicFrameChg chg="add mod">
          <ac:chgData name="Magali Aurand" userId="8e613f04-88c6-478f-a50c-6543fd88c657" providerId="ADAL" clId="{C3295FBD-69E7-4C19-87B1-56C8457354BA}" dt="2025-03-11T15:09:48.282" v="25415"/>
          <ac:graphicFrameMkLst>
            <pc:docMk/>
            <pc:sldMk cId="2018081501" sldId="2147376631"/>
            <ac:graphicFrameMk id="11" creationId="{3EBF3E7B-D525-12CD-9E0E-992B30C76BBD}"/>
          </ac:graphicFrameMkLst>
        </pc:graphicFrameChg>
        <pc:graphicFrameChg chg="add mod ord modGraphic">
          <ac:chgData name="Magali Aurand" userId="8e613f04-88c6-478f-a50c-6543fd88c657" providerId="ADAL" clId="{C3295FBD-69E7-4C19-87B1-56C8457354BA}" dt="2025-03-11T15:09:48.287" v="25423"/>
          <ac:graphicFrameMkLst>
            <pc:docMk/>
            <pc:sldMk cId="2018081501" sldId="2147376631"/>
            <ac:graphicFrameMk id="239" creationId="{CA0F86B7-A959-35B6-14A0-986898F42762}"/>
          </ac:graphicFrameMkLst>
        </pc:graphicFrameChg>
        <pc:picChg chg="add mod ord">
          <ac:chgData name="Magali Aurand" userId="8e613f04-88c6-478f-a50c-6543fd88c657" providerId="ADAL" clId="{C3295FBD-69E7-4C19-87B1-56C8457354BA}" dt="2025-03-11T15:09:48.280" v="25412"/>
          <ac:picMkLst>
            <pc:docMk/>
            <pc:sldMk cId="2018081501" sldId="2147376631"/>
            <ac:picMk id="144" creationId="{1E3C9D51-7838-C714-211A-2B74ECB86BCD}"/>
          </ac:picMkLst>
        </pc:picChg>
      </pc:sldChg>
      <pc:sldChg chg="addSp modSp add del mod modShow">
        <pc:chgData name="Magali Aurand" userId="8e613f04-88c6-478f-a50c-6543fd88c657" providerId="ADAL" clId="{C3295FBD-69E7-4C19-87B1-56C8457354BA}" dt="2025-03-11T15:30:25.797" v="26000" actId="47"/>
        <pc:sldMkLst>
          <pc:docMk/>
          <pc:sldMk cId="175324892" sldId="2147376632"/>
        </pc:sldMkLst>
      </pc:sldChg>
      <pc:sldChg chg="new add del">
        <pc:chgData name="Magali Aurand" userId="8e613f04-88c6-478f-a50c-6543fd88c657" providerId="ADAL" clId="{C3295FBD-69E7-4C19-87B1-56C8457354BA}" dt="2025-02-26T15:03:00.062" v="1699" actId="680"/>
        <pc:sldMkLst>
          <pc:docMk/>
          <pc:sldMk cId="2290996504" sldId="2147376633"/>
        </pc:sldMkLst>
      </pc:sldChg>
      <pc:sldChg chg="add del">
        <pc:chgData name="Magali Aurand" userId="8e613f04-88c6-478f-a50c-6543fd88c657" providerId="ADAL" clId="{C3295FBD-69E7-4C19-87B1-56C8457354BA}" dt="2025-02-25T17:16:52.837" v="1686"/>
        <pc:sldMkLst>
          <pc:docMk/>
          <pc:sldMk cId="3957529631" sldId="2147376633"/>
        </pc:sldMkLst>
      </pc:sldChg>
      <pc:sldChg chg="addSp delSp modSp add mod ord">
        <pc:chgData name="Magali Aurand" userId="8e613f04-88c6-478f-a50c-6543fd88c657" providerId="ADAL" clId="{C3295FBD-69E7-4C19-87B1-56C8457354BA}" dt="2025-04-08T11:57:49.827" v="67224" actId="20577"/>
        <pc:sldMkLst>
          <pc:docMk/>
          <pc:sldMk cId="4268734590" sldId="2147376633"/>
        </pc:sldMkLst>
        <pc:spChg chg="mod">
          <ac:chgData name="Magali Aurand" userId="8e613f04-88c6-478f-a50c-6543fd88c657" providerId="ADAL" clId="{C3295FBD-69E7-4C19-87B1-56C8457354BA}" dt="2025-04-08T09:45:50.073" v="62143" actId="948"/>
          <ac:spMkLst>
            <pc:docMk/>
            <pc:sldMk cId="4268734590" sldId="2147376633"/>
            <ac:spMk id="2" creationId="{CEFD7052-FF95-70E3-598E-94E7C174C38C}"/>
          </ac:spMkLst>
        </pc:spChg>
        <pc:spChg chg="add mod">
          <ac:chgData name="Magali Aurand" userId="8e613f04-88c6-478f-a50c-6543fd88c657" providerId="ADAL" clId="{C3295FBD-69E7-4C19-87B1-56C8457354BA}" dt="2025-04-08T11:53:55.589" v="66838" actId="20577"/>
          <ac:spMkLst>
            <pc:docMk/>
            <pc:sldMk cId="4268734590" sldId="2147376633"/>
            <ac:spMk id="9" creationId="{0DED90F5-BF54-898B-D478-195B8A951575}"/>
          </ac:spMkLst>
        </pc:spChg>
        <pc:graphicFrameChg chg="mod">
          <ac:chgData name="Magali Aurand" userId="8e613f04-88c6-478f-a50c-6543fd88c657" providerId="ADAL" clId="{C3295FBD-69E7-4C19-87B1-56C8457354BA}" dt="2025-04-08T09:45:50.097" v="62167"/>
          <ac:graphicFrameMkLst>
            <pc:docMk/>
            <pc:sldMk cId="4268734590" sldId="2147376633"/>
            <ac:graphicFrameMk id="4" creationId="{A2CB77F9-63A2-45DC-3D2D-4E78C4CEEC36}"/>
          </ac:graphicFrameMkLst>
        </pc:graphicFrameChg>
        <pc:graphicFrameChg chg="add mod modGraphic">
          <ac:chgData name="Magali Aurand" userId="8e613f04-88c6-478f-a50c-6543fd88c657" providerId="ADAL" clId="{C3295FBD-69E7-4C19-87B1-56C8457354BA}" dt="2025-04-08T11:57:49.827" v="67224" actId="20577"/>
          <ac:graphicFrameMkLst>
            <pc:docMk/>
            <pc:sldMk cId="4268734590" sldId="2147376633"/>
            <ac:graphicFrameMk id="6" creationId="{0FF75245-1640-7546-FE0D-22327DFF0D76}"/>
          </ac:graphicFrameMkLst>
        </pc:graphicFrameChg>
      </pc:sldChg>
      <pc:sldChg chg="new del">
        <pc:chgData name="Magali Aurand" userId="8e613f04-88c6-478f-a50c-6543fd88c657" providerId="ADAL" clId="{C3295FBD-69E7-4C19-87B1-56C8457354BA}" dt="2025-03-10T17:24:31.152" v="15836" actId="47"/>
        <pc:sldMkLst>
          <pc:docMk/>
          <pc:sldMk cId="493322395" sldId="2147376634"/>
        </pc:sldMkLst>
      </pc:sldChg>
      <pc:sldChg chg="addSp delSp modSp new mod modClrScheme chgLayout">
        <pc:chgData name="Magali Aurand" userId="8e613f04-88c6-478f-a50c-6543fd88c657" providerId="ADAL" clId="{C3295FBD-69E7-4C19-87B1-56C8457354BA}" dt="2025-04-10T10:24:38.172" v="77270" actId="20577"/>
        <pc:sldMkLst>
          <pc:docMk/>
          <pc:sldMk cId="3185571955" sldId="2147376634"/>
        </pc:sldMkLst>
        <pc:spChg chg="add mod">
          <ac:chgData name="Magali Aurand" userId="8e613f04-88c6-478f-a50c-6543fd88c657" providerId="ADAL" clId="{C3295FBD-69E7-4C19-87B1-56C8457354BA}" dt="2025-03-10T18:03:52.426" v="24616" actId="948"/>
          <ac:spMkLst>
            <pc:docMk/>
            <pc:sldMk cId="3185571955" sldId="2147376634"/>
            <ac:spMk id="2" creationId="{88879B80-2C36-3BE5-4151-C4E88E71B2A6}"/>
          </ac:spMkLst>
        </pc:spChg>
        <pc:spChg chg="add mod">
          <ac:chgData name="Magali Aurand" userId="8e613f04-88c6-478f-a50c-6543fd88c657" providerId="ADAL" clId="{C3295FBD-69E7-4C19-87B1-56C8457354BA}" dt="2025-04-10T10:24:38.172" v="77270" actId="20577"/>
          <ac:spMkLst>
            <pc:docMk/>
            <pc:sldMk cId="3185571955" sldId="2147376634"/>
            <ac:spMk id="3" creationId="{E3BE3A3F-3962-B621-9063-5996CB9CC3A7}"/>
          </ac:spMkLst>
        </pc:spChg>
        <pc:spChg chg="add mod">
          <ac:chgData name="Magali Aurand" userId="8e613f04-88c6-478f-a50c-6543fd88c657" providerId="ADAL" clId="{C3295FBD-69E7-4C19-87B1-56C8457354BA}" dt="2025-03-11T15:28:45.795" v="25988" actId="20577"/>
          <ac:spMkLst>
            <pc:docMk/>
            <pc:sldMk cId="3185571955" sldId="2147376634"/>
            <ac:spMk id="4" creationId="{5501F8D2-58DD-FD5A-B75E-A6895CDA0AF3}"/>
          </ac:spMkLst>
        </pc:spChg>
        <pc:spChg chg="add mod">
          <ac:chgData name="Magali Aurand" userId="8e613f04-88c6-478f-a50c-6543fd88c657" providerId="ADAL" clId="{C3295FBD-69E7-4C19-87B1-56C8457354BA}" dt="2025-03-11T15:09:10.229" v="25079" actId="20577"/>
          <ac:spMkLst>
            <pc:docMk/>
            <pc:sldMk cId="3185571955" sldId="2147376634"/>
            <ac:spMk id="11" creationId="{B36D39F1-2036-E922-0213-A89373BB34FF}"/>
          </ac:spMkLst>
        </pc:spChg>
        <pc:graphicFrameChg chg="add mod ord modVis">
          <ac:chgData name="Magali Aurand" userId="8e613f04-88c6-478f-a50c-6543fd88c657" providerId="ADAL" clId="{C3295FBD-69E7-4C19-87B1-56C8457354BA}" dt="2025-03-10T18:03:52.461" v="24640"/>
          <ac:graphicFrameMkLst>
            <pc:docMk/>
            <pc:sldMk cId="3185571955" sldId="2147376634"/>
            <ac:graphicFrameMk id="5" creationId="{EA61559A-5E71-0410-B2BC-3B875BA32C59}"/>
          </ac:graphicFrameMkLst>
        </pc:graphicFrameChg>
        <pc:picChg chg="add mod">
          <ac:chgData name="Magali Aurand" userId="8e613f04-88c6-478f-a50c-6543fd88c657" providerId="ADAL" clId="{C3295FBD-69E7-4C19-87B1-56C8457354BA}" dt="2025-03-10T17:25:06.624" v="15991"/>
          <ac:picMkLst>
            <pc:docMk/>
            <pc:sldMk cId="3185571955" sldId="2147376634"/>
            <ac:picMk id="9" creationId="{2F18D4F6-F13C-5267-F7AF-331F4DD32A7E}"/>
          </ac:picMkLst>
        </pc:picChg>
        <pc:picChg chg="add mod">
          <ac:chgData name="Magali Aurand" userId="8e613f04-88c6-478f-a50c-6543fd88c657" providerId="ADAL" clId="{C3295FBD-69E7-4C19-87B1-56C8457354BA}" dt="2025-03-10T17:25:06.624" v="15991"/>
          <ac:picMkLst>
            <pc:docMk/>
            <pc:sldMk cId="3185571955" sldId="2147376634"/>
            <ac:picMk id="10" creationId="{74EA7F07-7906-2D6C-79E4-44C128965F3C}"/>
          </ac:picMkLst>
        </pc:picChg>
        <pc:picChg chg="add mod">
          <ac:chgData name="Magali Aurand" userId="8e613f04-88c6-478f-a50c-6543fd88c657" providerId="ADAL" clId="{C3295FBD-69E7-4C19-87B1-56C8457354BA}" dt="2025-03-10T18:13:41.486" v="25041" actId="14100"/>
          <ac:picMkLst>
            <pc:docMk/>
            <pc:sldMk cId="3185571955" sldId="2147376634"/>
            <ac:picMk id="15" creationId="{7AFD6D34-DD8D-F21C-2E89-CF8B2FCF0CE4}"/>
          </ac:picMkLst>
        </pc:picChg>
      </pc:sldChg>
      <pc:sldChg chg="addSp delSp modSp new mod modClrScheme modShow chgLayout">
        <pc:chgData name="Magali Aurand" userId="8e613f04-88c6-478f-a50c-6543fd88c657" providerId="ADAL" clId="{C3295FBD-69E7-4C19-87B1-56C8457354BA}" dt="2025-04-08T15:08:37.181" v="69749" actId="729"/>
        <pc:sldMkLst>
          <pc:docMk/>
          <pc:sldMk cId="1395571397" sldId="2147376635"/>
        </pc:sldMkLst>
        <pc:spChg chg="add mod">
          <ac:chgData name="Magali Aurand" userId="8e613f04-88c6-478f-a50c-6543fd88c657" providerId="ADAL" clId="{C3295FBD-69E7-4C19-87B1-56C8457354BA}" dt="2025-03-11T15:34:58.750" v="26185" actId="948"/>
          <ac:spMkLst>
            <pc:docMk/>
            <pc:sldMk cId="1395571397" sldId="2147376635"/>
            <ac:spMk id="2" creationId="{AF502865-7873-6585-A710-ABF4EFFCB6C7}"/>
          </ac:spMkLst>
        </pc:spChg>
        <pc:spChg chg="add mod">
          <ac:chgData name="Magali Aurand" userId="8e613f04-88c6-478f-a50c-6543fd88c657" providerId="ADAL" clId="{C3295FBD-69E7-4C19-87B1-56C8457354BA}" dt="2025-03-12T17:24:41.937" v="40996" actId="20577"/>
          <ac:spMkLst>
            <pc:docMk/>
            <pc:sldMk cId="1395571397" sldId="2147376635"/>
            <ac:spMk id="3" creationId="{DCF1F91D-C0E8-47CE-D593-0749148123B4}"/>
          </ac:spMkLst>
        </pc:spChg>
        <pc:graphicFrameChg chg="add mod ord modVis">
          <ac:chgData name="Magali Aurand" userId="8e613f04-88c6-478f-a50c-6543fd88c657" providerId="ADAL" clId="{C3295FBD-69E7-4C19-87B1-56C8457354BA}" dt="2025-03-11T15:34:58.786" v="26209"/>
          <ac:graphicFrameMkLst>
            <pc:docMk/>
            <pc:sldMk cId="1395571397" sldId="2147376635"/>
            <ac:graphicFrameMk id="5" creationId="{E4B3E727-78E5-F824-0A5F-0DC5E6320D12}"/>
          </ac:graphicFrameMkLst>
        </pc:graphicFrameChg>
        <pc:picChg chg="add mod">
          <ac:chgData name="Magali Aurand" userId="8e613f04-88c6-478f-a50c-6543fd88c657" providerId="ADAL" clId="{C3295FBD-69E7-4C19-87B1-56C8457354BA}" dt="2025-03-12T17:31:23.620" v="41152" actId="207"/>
          <ac:picMkLst>
            <pc:docMk/>
            <pc:sldMk cId="1395571397" sldId="2147376635"/>
            <ac:picMk id="12" creationId="{B459CFB7-EF9A-FC07-DFFE-0CD9FE36E1BE}"/>
          </ac:picMkLst>
        </pc:picChg>
        <pc:picChg chg="add mod">
          <ac:chgData name="Magali Aurand" userId="8e613f04-88c6-478f-a50c-6543fd88c657" providerId="ADAL" clId="{C3295FBD-69E7-4C19-87B1-56C8457354BA}" dt="2025-03-12T17:31:23.620" v="41152" actId="207"/>
          <ac:picMkLst>
            <pc:docMk/>
            <pc:sldMk cId="1395571397" sldId="2147376635"/>
            <ac:picMk id="14" creationId="{229CDE16-0381-B28A-9131-5ECC8BADBDB6}"/>
          </ac:picMkLst>
        </pc:picChg>
        <pc:picChg chg="add mod">
          <ac:chgData name="Magali Aurand" userId="8e613f04-88c6-478f-a50c-6543fd88c657" providerId="ADAL" clId="{C3295FBD-69E7-4C19-87B1-56C8457354BA}" dt="2025-03-12T17:31:23.620" v="41152" actId="207"/>
          <ac:picMkLst>
            <pc:docMk/>
            <pc:sldMk cId="1395571397" sldId="2147376635"/>
            <ac:picMk id="18" creationId="{4245C984-0F2A-6953-6257-078C79E6AAFE}"/>
          </ac:picMkLst>
        </pc:picChg>
      </pc:sldChg>
      <pc:sldChg chg="new del">
        <pc:chgData name="Magali Aurand" userId="8e613f04-88c6-478f-a50c-6543fd88c657" providerId="ADAL" clId="{C3295FBD-69E7-4C19-87B1-56C8457354BA}" dt="2025-03-11T15:34:48.631" v="26119" actId="47"/>
        <pc:sldMkLst>
          <pc:docMk/>
          <pc:sldMk cId="416939502" sldId="2147376636"/>
        </pc:sldMkLst>
      </pc:sldChg>
      <pc:sldChg chg="addSp delSp modSp add mod">
        <pc:chgData name="Magali Aurand" userId="8e613f04-88c6-478f-a50c-6543fd88c657" providerId="ADAL" clId="{C3295FBD-69E7-4C19-87B1-56C8457354BA}" dt="2025-05-07T09:10:19.861" v="77305" actId="20577"/>
        <pc:sldMkLst>
          <pc:docMk/>
          <pc:sldMk cId="3144775269" sldId="2147376637"/>
        </pc:sldMkLst>
        <pc:spChg chg="mod">
          <ac:chgData name="Magali Aurand" userId="8e613f04-88c6-478f-a50c-6543fd88c657" providerId="ADAL" clId="{C3295FBD-69E7-4C19-87B1-56C8457354BA}" dt="2025-04-08T15:33:23.536" v="71695" actId="948"/>
          <ac:spMkLst>
            <pc:docMk/>
            <pc:sldMk cId="3144775269" sldId="2147376637"/>
            <ac:spMk id="2" creationId="{AF502865-7873-6585-A710-ABF4EFFCB6C7}"/>
          </ac:spMkLst>
        </pc:spChg>
        <pc:graphicFrameChg chg="mod">
          <ac:chgData name="Magali Aurand" userId="8e613f04-88c6-478f-a50c-6543fd88c657" providerId="ADAL" clId="{C3295FBD-69E7-4C19-87B1-56C8457354BA}" dt="2025-04-08T15:33:23.616" v="71719"/>
          <ac:graphicFrameMkLst>
            <pc:docMk/>
            <pc:sldMk cId="3144775269" sldId="2147376637"/>
            <ac:graphicFrameMk id="5" creationId="{E4B3E727-78E5-F824-0A5F-0DC5E6320D12}"/>
          </ac:graphicFrameMkLst>
        </pc:graphicFrameChg>
        <pc:graphicFrameChg chg="add mod ord modGraphic">
          <ac:chgData name="Magali Aurand" userId="8e613f04-88c6-478f-a50c-6543fd88c657" providerId="ADAL" clId="{C3295FBD-69E7-4C19-87B1-56C8457354BA}" dt="2025-05-07T09:10:19.861" v="77305" actId="20577"/>
          <ac:graphicFrameMkLst>
            <pc:docMk/>
            <pc:sldMk cId="3144775269" sldId="2147376637"/>
            <ac:graphicFrameMk id="6" creationId="{82F46EDA-BA4C-F909-E2BE-61942E723BED}"/>
          </ac:graphicFrameMkLst>
        </pc:graphicFrameChg>
      </pc:sldChg>
      <pc:sldChg chg="addSp delSp new add del mod">
        <pc:chgData name="Magali Aurand" userId="8e613f04-88c6-478f-a50c-6543fd88c657" providerId="ADAL" clId="{C3295FBD-69E7-4C19-87B1-56C8457354BA}" dt="2025-03-12T10:42:53.441" v="27016" actId="680"/>
        <pc:sldMkLst>
          <pc:docMk/>
          <pc:sldMk cId="253834051" sldId="2147376638"/>
        </pc:sldMkLst>
      </pc:sldChg>
      <pc:sldChg chg="modSp add del mod">
        <pc:chgData name="Magali Aurand" userId="8e613f04-88c6-478f-a50c-6543fd88c657" providerId="ADAL" clId="{C3295FBD-69E7-4C19-87B1-56C8457354BA}" dt="2025-04-01T15:31:01.900" v="55937" actId="47"/>
        <pc:sldMkLst>
          <pc:docMk/>
          <pc:sldMk cId="1333081268" sldId="2147376638"/>
        </pc:sldMkLst>
      </pc:sldChg>
      <pc:sldChg chg="addSp delSp modSp new mod modClrScheme chgLayout modNotesTx">
        <pc:chgData name="Magali Aurand" userId="8e613f04-88c6-478f-a50c-6543fd88c657" providerId="ADAL" clId="{C3295FBD-69E7-4C19-87B1-56C8457354BA}" dt="2025-04-09T13:51:55.829" v="72012" actId="122"/>
        <pc:sldMkLst>
          <pc:docMk/>
          <pc:sldMk cId="3166400181" sldId="2147376639"/>
        </pc:sldMkLst>
        <pc:spChg chg="add mod">
          <ac:chgData name="Magali Aurand" userId="8e613f04-88c6-478f-a50c-6543fd88c657" providerId="ADAL" clId="{C3295FBD-69E7-4C19-87B1-56C8457354BA}" dt="2025-03-12T13:12:12.433" v="27567" actId="948"/>
          <ac:spMkLst>
            <pc:docMk/>
            <pc:sldMk cId="3166400181" sldId="2147376639"/>
            <ac:spMk id="2" creationId="{ACF614BF-A483-E4C6-7661-CBE0AFD1F20D}"/>
          </ac:spMkLst>
        </pc:spChg>
        <pc:spChg chg="add mod">
          <ac:chgData name="Magali Aurand" userId="8e613f04-88c6-478f-a50c-6543fd88c657" providerId="ADAL" clId="{C3295FBD-69E7-4C19-87B1-56C8457354BA}" dt="2025-04-09T13:51:55.829" v="72012" actId="122"/>
          <ac:spMkLst>
            <pc:docMk/>
            <pc:sldMk cId="3166400181" sldId="2147376639"/>
            <ac:spMk id="3" creationId="{36DD768A-31E9-462C-E347-986B2A90D17C}"/>
          </ac:spMkLst>
        </pc:spChg>
        <pc:graphicFrameChg chg="add mod ord modVis">
          <ac:chgData name="Magali Aurand" userId="8e613f04-88c6-478f-a50c-6543fd88c657" providerId="ADAL" clId="{C3295FBD-69E7-4C19-87B1-56C8457354BA}" dt="2025-03-12T13:12:12.454" v="27591"/>
          <ac:graphicFrameMkLst>
            <pc:docMk/>
            <pc:sldMk cId="3166400181" sldId="2147376639"/>
            <ac:graphicFrameMk id="5" creationId="{6CAF3CFA-8A90-49F7-ED58-3A262469D369}"/>
          </ac:graphicFrameMkLst>
        </pc:graphicFrameChg>
        <pc:graphicFrameChg chg="add mod ord modGraphic">
          <ac:chgData name="Magali Aurand" userId="8e613f04-88c6-478f-a50c-6543fd88c657" providerId="ADAL" clId="{C3295FBD-69E7-4C19-87B1-56C8457354BA}" dt="2025-03-12T13:47:49.074" v="29456" actId="1036"/>
          <ac:graphicFrameMkLst>
            <pc:docMk/>
            <pc:sldMk cId="3166400181" sldId="2147376639"/>
            <ac:graphicFrameMk id="9" creationId="{FD030C7A-C617-B78D-45B9-2FCB642F1632}"/>
          </ac:graphicFrameMkLst>
        </pc:graphicFrameChg>
        <pc:graphicFrameChg chg="add mod modGraphic">
          <ac:chgData name="Magali Aurand" userId="8e613f04-88c6-478f-a50c-6543fd88c657" providerId="ADAL" clId="{C3295FBD-69E7-4C19-87B1-56C8457354BA}" dt="2025-03-12T16:56:07.763" v="38878" actId="14100"/>
          <ac:graphicFrameMkLst>
            <pc:docMk/>
            <pc:sldMk cId="3166400181" sldId="2147376639"/>
            <ac:graphicFrameMk id="10" creationId="{BFEDF1B4-5000-33C4-DFBE-0609C20271F7}"/>
          </ac:graphicFrameMkLst>
        </pc:graphicFrameChg>
        <pc:graphicFrameChg chg="add mod modGraphic">
          <ac:chgData name="Magali Aurand" userId="8e613f04-88c6-478f-a50c-6543fd88c657" providerId="ADAL" clId="{C3295FBD-69E7-4C19-87B1-56C8457354BA}" dt="2025-03-12T16:55:53.175" v="38872" actId="14100"/>
          <ac:graphicFrameMkLst>
            <pc:docMk/>
            <pc:sldMk cId="3166400181" sldId="2147376639"/>
            <ac:graphicFrameMk id="11" creationId="{6BFE0656-F6B8-24A0-FED6-ED5B865BB4C8}"/>
          </ac:graphicFrameMkLst>
        </pc:graphicFrameChg>
        <pc:graphicFrameChg chg="add mod modGraphic">
          <ac:chgData name="Magali Aurand" userId="8e613f04-88c6-478f-a50c-6543fd88c657" providerId="ADAL" clId="{C3295FBD-69E7-4C19-87B1-56C8457354BA}" dt="2025-03-12T13:47:49.074" v="29456" actId="1036"/>
          <ac:graphicFrameMkLst>
            <pc:docMk/>
            <pc:sldMk cId="3166400181" sldId="2147376639"/>
            <ac:graphicFrameMk id="12" creationId="{CD034502-ED68-2492-785F-7F1FBE1F5240}"/>
          </ac:graphicFrameMkLst>
        </pc:graphicFrameChg>
        <pc:picChg chg="add mod">
          <ac:chgData name="Magali Aurand" userId="8e613f04-88c6-478f-a50c-6543fd88c657" providerId="ADAL" clId="{C3295FBD-69E7-4C19-87B1-56C8457354BA}" dt="2025-03-12T13:47:49.074" v="29456" actId="1036"/>
          <ac:picMkLst>
            <pc:docMk/>
            <pc:sldMk cId="3166400181" sldId="2147376639"/>
            <ac:picMk id="13" creationId="{7F90BC19-7077-FFFF-9C18-008E5A03FCAA}"/>
          </ac:picMkLst>
        </pc:picChg>
        <pc:picChg chg="add mod">
          <ac:chgData name="Magali Aurand" userId="8e613f04-88c6-478f-a50c-6543fd88c657" providerId="ADAL" clId="{C3295FBD-69E7-4C19-87B1-56C8457354BA}" dt="2025-04-09T13:50:51.373" v="72001" actId="12789"/>
          <ac:picMkLst>
            <pc:docMk/>
            <pc:sldMk cId="3166400181" sldId="2147376639"/>
            <ac:picMk id="15" creationId="{7E5F3454-CB04-FD0D-4CC5-E11755FD9E39}"/>
          </ac:picMkLst>
        </pc:picChg>
        <pc:picChg chg="add mod">
          <ac:chgData name="Magali Aurand" userId="8e613f04-88c6-478f-a50c-6543fd88c657" providerId="ADAL" clId="{C3295FBD-69E7-4C19-87B1-56C8457354BA}" dt="2025-04-09T13:50:51.373" v="72001" actId="12789"/>
          <ac:picMkLst>
            <pc:docMk/>
            <pc:sldMk cId="3166400181" sldId="2147376639"/>
            <ac:picMk id="16" creationId="{3CAC19A3-155E-AD00-9946-0139724E3849}"/>
          </ac:picMkLst>
        </pc:picChg>
        <pc:picChg chg="add mod">
          <ac:chgData name="Magali Aurand" userId="8e613f04-88c6-478f-a50c-6543fd88c657" providerId="ADAL" clId="{C3295FBD-69E7-4C19-87B1-56C8457354BA}" dt="2025-04-09T13:50:51.373" v="72001" actId="12789"/>
          <ac:picMkLst>
            <pc:docMk/>
            <pc:sldMk cId="3166400181" sldId="2147376639"/>
            <ac:picMk id="17" creationId="{04AA1D6E-0CE9-7159-095F-2250C0812A0F}"/>
          </ac:picMkLst>
        </pc:picChg>
        <pc:picChg chg="add mod">
          <ac:chgData name="Magali Aurand" userId="8e613f04-88c6-478f-a50c-6543fd88c657" providerId="ADAL" clId="{C3295FBD-69E7-4C19-87B1-56C8457354BA}" dt="2025-03-12T13:47:49.074" v="29456" actId="1036"/>
          <ac:picMkLst>
            <pc:docMk/>
            <pc:sldMk cId="3166400181" sldId="2147376639"/>
            <ac:picMk id="1028" creationId="{EE7A8845-5B4B-40DA-1898-8A89D85C2666}"/>
          </ac:picMkLst>
        </pc:picChg>
      </pc:sldChg>
      <pc:sldChg chg="addSp delSp modSp add mod modNotesTx">
        <pc:chgData name="Magali Aurand" userId="8e613f04-88c6-478f-a50c-6543fd88c657" providerId="ADAL" clId="{C3295FBD-69E7-4C19-87B1-56C8457354BA}" dt="2025-04-09T13:52:14.796" v="72014" actId="207"/>
        <pc:sldMkLst>
          <pc:docMk/>
          <pc:sldMk cId="2768570107" sldId="2147376640"/>
        </pc:sldMkLst>
        <pc:spChg chg="mod">
          <ac:chgData name="Magali Aurand" userId="8e613f04-88c6-478f-a50c-6543fd88c657" providerId="ADAL" clId="{C3295FBD-69E7-4C19-87B1-56C8457354BA}" dt="2025-03-12T13:54:19.878" v="29977" actId="948"/>
          <ac:spMkLst>
            <pc:docMk/>
            <pc:sldMk cId="2768570107" sldId="2147376640"/>
            <ac:spMk id="2" creationId="{ACF614BF-A483-E4C6-7661-CBE0AFD1F20D}"/>
          </ac:spMkLst>
        </pc:spChg>
        <pc:spChg chg="add mod">
          <ac:chgData name="Magali Aurand" userId="8e613f04-88c6-478f-a50c-6543fd88c657" providerId="ADAL" clId="{C3295FBD-69E7-4C19-87B1-56C8457354BA}" dt="2025-04-09T13:52:07.686" v="72013"/>
          <ac:spMkLst>
            <pc:docMk/>
            <pc:sldMk cId="2768570107" sldId="2147376640"/>
            <ac:spMk id="3" creationId="{8AF1AA9C-3B9D-0928-ADA1-663473724A81}"/>
          </ac:spMkLst>
        </pc:spChg>
        <pc:graphicFrameChg chg="mod">
          <ac:chgData name="Magali Aurand" userId="8e613f04-88c6-478f-a50c-6543fd88c657" providerId="ADAL" clId="{C3295FBD-69E7-4C19-87B1-56C8457354BA}" dt="2025-03-12T13:54:19.899" v="30001"/>
          <ac:graphicFrameMkLst>
            <pc:docMk/>
            <pc:sldMk cId="2768570107" sldId="2147376640"/>
            <ac:graphicFrameMk id="5" creationId="{6CAF3CFA-8A90-49F7-ED58-3A262469D369}"/>
          </ac:graphicFrameMkLst>
        </pc:graphicFrameChg>
        <pc:graphicFrameChg chg="mod modGraphic">
          <ac:chgData name="Magali Aurand" userId="8e613f04-88c6-478f-a50c-6543fd88c657" providerId="ADAL" clId="{C3295FBD-69E7-4C19-87B1-56C8457354BA}" dt="2025-03-12T13:52:58.090" v="29965" actId="20577"/>
          <ac:graphicFrameMkLst>
            <pc:docMk/>
            <pc:sldMk cId="2768570107" sldId="2147376640"/>
            <ac:graphicFrameMk id="9" creationId="{FD030C7A-C617-B78D-45B9-2FCB642F1632}"/>
          </ac:graphicFrameMkLst>
        </pc:graphicFrameChg>
        <pc:graphicFrameChg chg="mod modGraphic">
          <ac:chgData name="Magali Aurand" userId="8e613f04-88c6-478f-a50c-6543fd88c657" providerId="ADAL" clId="{C3295FBD-69E7-4C19-87B1-56C8457354BA}" dt="2025-03-12T16:55:34.794" v="38868" actId="14100"/>
          <ac:graphicFrameMkLst>
            <pc:docMk/>
            <pc:sldMk cId="2768570107" sldId="2147376640"/>
            <ac:graphicFrameMk id="10" creationId="{BFEDF1B4-5000-33C4-DFBE-0609C20271F7}"/>
          </ac:graphicFrameMkLst>
        </pc:graphicFrameChg>
        <pc:graphicFrameChg chg="mod modGraphic">
          <ac:chgData name="Magali Aurand" userId="8e613f04-88c6-478f-a50c-6543fd88c657" providerId="ADAL" clId="{C3295FBD-69E7-4C19-87B1-56C8457354BA}" dt="2025-03-12T16:55:12.911" v="38863" actId="14100"/>
          <ac:graphicFrameMkLst>
            <pc:docMk/>
            <pc:sldMk cId="2768570107" sldId="2147376640"/>
            <ac:graphicFrameMk id="11" creationId="{6BFE0656-F6B8-24A0-FED6-ED5B865BB4C8}"/>
          </ac:graphicFrameMkLst>
        </pc:graphicFrameChg>
        <pc:graphicFrameChg chg="mod modGraphic">
          <ac:chgData name="Magali Aurand" userId="8e613f04-88c6-478f-a50c-6543fd88c657" providerId="ADAL" clId="{C3295FBD-69E7-4C19-87B1-56C8457354BA}" dt="2025-03-12T14:11:50.817" v="31341" actId="20577"/>
          <ac:graphicFrameMkLst>
            <pc:docMk/>
            <pc:sldMk cId="2768570107" sldId="2147376640"/>
            <ac:graphicFrameMk id="12" creationId="{CD034502-ED68-2492-785F-7F1FBE1F5240}"/>
          </ac:graphicFrameMkLst>
        </pc:graphicFrameChg>
        <pc:picChg chg="add mod">
          <ac:chgData name="Magali Aurand" userId="8e613f04-88c6-478f-a50c-6543fd88c657" providerId="ADAL" clId="{C3295FBD-69E7-4C19-87B1-56C8457354BA}" dt="2025-03-12T17:32:10.861" v="41159" actId="27349"/>
          <ac:picMkLst>
            <pc:docMk/>
            <pc:sldMk cId="2768570107" sldId="2147376640"/>
            <ac:picMk id="21" creationId="{BAC764DF-8F17-3249-5FC6-173CC741126B}"/>
          </ac:picMkLst>
        </pc:picChg>
        <pc:picChg chg="add mod">
          <ac:chgData name="Magali Aurand" userId="8e613f04-88c6-478f-a50c-6543fd88c657" providerId="ADAL" clId="{C3295FBD-69E7-4C19-87B1-56C8457354BA}" dt="2025-04-09T13:52:14.796" v="72014" actId="207"/>
          <ac:picMkLst>
            <pc:docMk/>
            <pc:sldMk cId="2768570107" sldId="2147376640"/>
            <ac:picMk id="22" creationId="{AE2D79EC-8525-CC2E-A3E4-017FACBBF1E2}"/>
          </ac:picMkLst>
        </pc:picChg>
        <pc:picChg chg="add mod">
          <ac:chgData name="Magali Aurand" userId="8e613f04-88c6-478f-a50c-6543fd88c657" providerId="ADAL" clId="{C3295FBD-69E7-4C19-87B1-56C8457354BA}" dt="2025-03-12T17:32:02.790" v="41158"/>
          <ac:picMkLst>
            <pc:docMk/>
            <pc:sldMk cId="2768570107" sldId="2147376640"/>
            <ac:picMk id="23" creationId="{0FBA9538-3F12-8E24-AA6F-F08531029955}"/>
          </ac:picMkLst>
        </pc:picChg>
        <pc:picChg chg="add mod">
          <ac:chgData name="Magali Aurand" userId="8e613f04-88c6-478f-a50c-6543fd88c657" providerId="ADAL" clId="{C3295FBD-69E7-4C19-87B1-56C8457354BA}" dt="2025-03-12T13:53:48.521" v="29974" actId="1035"/>
          <ac:picMkLst>
            <pc:docMk/>
            <pc:sldMk cId="2768570107" sldId="2147376640"/>
            <ac:picMk id="2050" creationId="{8BAFFDF6-F854-FD88-EA7F-5B192AA764BC}"/>
          </ac:picMkLst>
        </pc:picChg>
      </pc:sldChg>
      <pc:sldChg chg="addSp delSp modSp add mod modNotesTx">
        <pc:chgData name="Magali Aurand" userId="8e613f04-88c6-478f-a50c-6543fd88c657" providerId="ADAL" clId="{C3295FBD-69E7-4C19-87B1-56C8457354BA}" dt="2025-04-09T13:52:19.974" v="72015"/>
        <pc:sldMkLst>
          <pc:docMk/>
          <pc:sldMk cId="2754628324" sldId="2147376641"/>
        </pc:sldMkLst>
        <pc:spChg chg="mod">
          <ac:chgData name="Magali Aurand" userId="8e613f04-88c6-478f-a50c-6543fd88c657" providerId="ADAL" clId="{C3295FBD-69E7-4C19-87B1-56C8457354BA}" dt="2025-03-12T14:30:06.797" v="31431" actId="948"/>
          <ac:spMkLst>
            <pc:docMk/>
            <pc:sldMk cId="2754628324" sldId="2147376641"/>
            <ac:spMk id="2" creationId="{ACF614BF-A483-E4C6-7661-CBE0AFD1F20D}"/>
          </ac:spMkLst>
        </pc:spChg>
        <pc:spChg chg="add mod">
          <ac:chgData name="Magali Aurand" userId="8e613f04-88c6-478f-a50c-6543fd88c657" providerId="ADAL" clId="{C3295FBD-69E7-4C19-87B1-56C8457354BA}" dt="2025-04-09T13:52:19.974" v="72015"/>
          <ac:spMkLst>
            <pc:docMk/>
            <pc:sldMk cId="2754628324" sldId="2147376641"/>
            <ac:spMk id="3" creationId="{C1B8C4E1-75D7-5406-2DFF-8BC9AA0A7B8F}"/>
          </ac:spMkLst>
        </pc:spChg>
        <pc:spChg chg="add mod">
          <ac:chgData name="Magali Aurand" userId="8e613f04-88c6-478f-a50c-6543fd88c657" providerId="ADAL" clId="{C3295FBD-69E7-4C19-87B1-56C8457354BA}" dt="2025-03-12T15:31:41.183" v="34186" actId="1036"/>
          <ac:spMkLst>
            <pc:docMk/>
            <pc:sldMk cId="2754628324" sldId="2147376641"/>
            <ac:spMk id="14" creationId="{61411743-2D3E-F0E4-3CA3-1C318A03B25A}"/>
          </ac:spMkLst>
        </pc:spChg>
        <pc:graphicFrameChg chg="mod">
          <ac:chgData name="Magali Aurand" userId="8e613f04-88c6-478f-a50c-6543fd88c657" providerId="ADAL" clId="{C3295FBD-69E7-4C19-87B1-56C8457354BA}" dt="2025-03-12T14:30:06.820" v="31455"/>
          <ac:graphicFrameMkLst>
            <pc:docMk/>
            <pc:sldMk cId="2754628324" sldId="2147376641"/>
            <ac:graphicFrameMk id="5" creationId="{6CAF3CFA-8A90-49F7-ED58-3A262469D369}"/>
          </ac:graphicFrameMkLst>
        </pc:graphicFrameChg>
        <pc:graphicFrameChg chg="mod modGraphic">
          <ac:chgData name="Magali Aurand" userId="8e613f04-88c6-478f-a50c-6543fd88c657" providerId="ADAL" clId="{C3295FBD-69E7-4C19-87B1-56C8457354BA}" dt="2025-03-12T17:42:31.096" v="41958" actId="20577"/>
          <ac:graphicFrameMkLst>
            <pc:docMk/>
            <pc:sldMk cId="2754628324" sldId="2147376641"/>
            <ac:graphicFrameMk id="9" creationId="{FD030C7A-C617-B78D-45B9-2FCB642F1632}"/>
          </ac:graphicFrameMkLst>
        </pc:graphicFrameChg>
        <pc:graphicFrameChg chg="mod modGraphic">
          <ac:chgData name="Magali Aurand" userId="8e613f04-88c6-478f-a50c-6543fd88c657" providerId="ADAL" clId="{C3295FBD-69E7-4C19-87B1-56C8457354BA}" dt="2025-03-12T15:33:15.548" v="34225" actId="20577"/>
          <ac:graphicFrameMkLst>
            <pc:docMk/>
            <pc:sldMk cId="2754628324" sldId="2147376641"/>
            <ac:graphicFrameMk id="10" creationId="{BFEDF1B4-5000-33C4-DFBE-0609C20271F7}"/>
          </ac:graphicFrameMkLst>
        </pc:graphicFrameChg>
        <pc:graphicFrameChg chg="mod modGraphic">
          <ac:chgData name="Magali Aurand" userId="8e613f04-88c6-478f-a50c-6543fd88c657" providerId="ADAL" clId="{C3295FBD-69E7-4C19-87B1-56C8457354BA}" dt="2025-03-12T15:30:53.016" v="34157" actId="1076"/>
          <ac:graphicFrameMkLst>
            <pc:docMk/>
            <pc:sldMk cId="2754628324" sldId="2147376641"/>
            <ac:graphicFrameMk id="11" creationId="{6BFE0656-F6B8-24A0-FED6-ED5B865BB4C8}"/>
          </ac:graphicFrameMkLst>
        </pc:graphicFrameChg>
        <pc:graphicFrameChg chg="mod modGraphic">
          <ac:chgData name="Magali Aurand" userId="8e613f04-88c6-478f-a50c-6543fd88c657" providerId="ADAL" clId="{C3295FBD-69E7-4C19-87B1-56C8457354BA}" dt="2025-03-12T15:30:48.538" v="34156" actId="1076"/>
          <ac:graphicFrameMkLst>
            <pc:docMk/>
            <pc:sldMk cId="2754628324" sldId="2147376641"/>
            <ac:graphicFrameMk id="12" creationId="{CD034502-ED68-2492-785F-7F1FBE1F5240}"/>
          </ac:graphicFrameMkLst>
        </pc:graphicFrameChg>
        <pc:picChg chg="add mod">
          <ac:chgData name="Magali Aurand" userId="8e613f04-88c6-478f-a50c-6543fd88c657" providerId="ADAL" clId="{C3295FBD-69E7-4C19-87B1-56C8457354BA}" dt="2025-03-12T15:34:55.503" v="34231" actId="14100"/>
          <ac:picMkLst>
            <pc:docMk/>
            <pc:sldMk cId="2754628324" sldId="2147376641"/>
            <ac:picMk id="16" creationId="{C1544552-C6D6-94A1-F071-04CA0FFF2CD8}"/>
          </ac:picMkLst>
        </pc:picChg>
        <pc:picChg chg="add mod">
          <ac:chgData name="Magali Aurand" userId="8e613f04-88c6-478f-a50c-6543fd88c657" providerId="ADAL" clId="{C3295FBD-69E7-4C19-87B1-56C8457354BA}" dt="2025-03-12T17:32:52.955" v="41162" actId="27349"/>
          <ac:picMkLst>
            <pc:docMk/>
            <pc:sldMk cId="2754628324" sldId="2147376641"/>
            <ac:picMk id="17" creationId="{491F18CA-5CD9-0C4D-DBE3-180D722722EC}"/>
          </ac:picMkLst>
        </pc:picChg>
        <pc:picChg chg="add mod">
          <ac:chgData name="Magali Aurand" userId="8e613f04-88c6-478f-a50c-6543fd88c657" providerId="ADAL" clId="{C3295FBD-69E7-4C19-87B1-56C8457354BA}" dt="2025-03-12T17:32:38.233" v="41161"/>
          <ac:picMkLst>
            <pc:docMk/>
            <pc:sldMk cId="2754628324" sldId="2147376641"/>
            <ac:picMk id="18" creationId="{78DB7CD7-FEAF-DF4E-D5BE-B45115409891}"/>
          </ac:picMkLst>
        </pc:picChg>
        <pc:picChg chg="add mod">
          <ac:chgData name="Magali Aurand" userId="8e613f04-88c6-478f-a50c-6543fd88c657" providerId="ADAL" clId="{C3295FBD-69E7-4C19-87B1-56C8457354BA}" dt="2025-03-12T17:32:38.233" v="41161"/>
          <ac:picMkLst>
            <pc:docMk/>
            <pc:sldMk cId="2754628324" sldId="2147376641"/>
            <ac:picMk id="19" creationId="{17150D16-19C2-66B2-E593-74FC6CCD6D70}"/>
          </ac:picMkLst>
        </pc:picChg>
        <pc:picChg chg="add mod">
          <ac:chgData name="Magali Aurand" userId="8e613f04-88c6-478f-a50c-6543fd88c657" providerId="ADAL" clId="{C3295FBD-69E7-4C19-87B1-56C8457354BA}" dt="2025-03-12T15:34:50.114" v="34230" actId="14100"/>
          <ac:picMkLst>
            <pc:docMk/>
            <pc:sldMk cId="2754628324" sldId="2147376641"/>
            <ac:picMk id="3074" creationId="{C2A70E64-6A01-D6F4-176B-F1C379DAA21B}"/>
          </ac:picMkLst>
        </pc:picChg>
        <pc:picChg chg="add mod">
          <ac:chgData name="Magali Aurand" userId="8e613f04-88c6-478f-a50c-6543fd88c657" providerId="ADAL" clId="{C3295FBD-69E7-4C19-87B1-56C8457354BA}" dt="2025-03-12T15:31:38.094" v="34179" actId="1035"/>
          <ac:picMkLst>
            <pc:docMk/>
            <pc:sldMk cId="2754628324" sldId="2147376641"/>
            <ac:picMk id="3076" creationId="{9181BC64-8A7D-D37A-D1F0-6BB3644BDCA4}"/>
          </ac:picMkLst>
        </pc:picChg>
      </pc:sldChg>
      <pc:sldChg chg="addSp delSp modSp add mod modNotesTx">
        <pc:chgData name="Magali Aurand" userId="8e613f04-88c6-478f-a50c-6543fd88c657" providerId="ADAL" clId="{C3295FBD-69E7-4C19-87B1-56C8457354BA}" dt="2025-05-07T09:36:09.482" v="79785" actId="14100"/>
        <pc:sldMkLst>
          <pc:docMk/>
          <pc:sldMk cId="781179208" sldId="2147376642"/>
        </pc:sldMkLst>
        <pc:spChg chg="mod">
          <ac:chgData name="Magali Aurand" userId="8e613f04-88c6-478f-a50c-6543fd88c657" providerId="ADAL" clId="{C3295FBD-69E7-4C19-87B1-56C8457354BA}" dt="2025-03-12T15:36:56.212" v="34281" actId="948"/>
          <ac:spMkLst>
            <pc:docMk/>
            <pc:sldMk cId="781179208" sldId="2147376642"/>
            <ac:spMk id="2" creationId="{ACF614BF-A483-E4C6-7661-CBE0AFD1F20D}"/>
          </ac:spMkLst>
        </pc:spChg>
        <pc:spChg chg="add del mod">
          <ac:chgData name="Magali Aurand" userId="8e613f04-88c6-478f-a50c-6543fd88c657" providerId="ADAL" clId="{C3295FBD-69E7-4C19-87B1-56C8457354BA}" dt="2025-05-07T09:10:44.434" v="77306" actId="478"/>
          <ac:spMkLst>
            <pc:docMk/>
            <pc:sldMk cId="781179208" sldId="2147376642"/>
            <ac:spMk id="3" creationId="{FBD76D7C-828B-054C-2EF3-ADE1532FFE37}"/>
          </ac:spMkLst>
        </pc:spChg>
        <pc:spChg chg="add mod">
          <ac:chgData name="Magali Aurand" userId="8e613f04-88c6-478f-a50c-6543fd88c657" providerId="ADAL" clId="{C3295FBD-69E7-4C19-87B1-56C8457354BA}" dt="2025-04-09T13:52:27.912" v="72016"/>
          <ac:spMkLst>
            <pc:docMk/>
            <pc:sldMk cId="781179208" sldId="2147376642"/>
            <ac:spMk id="4" creationId="{24E2B799-67D9-2A44-9A67-6D318D0041B2}"/>
          </ac:spMkLst>
        </pc:spChg>
        <pc:graphicFrameChg chg="mod">
          <ac:chgData name="Magali Aurand" userId="8e613f04-88c6-478f-a50c-6543fd88c657" providerId="ADAL" clId="{C3295FBD-69E7-4C19-87B1-56C8457354BA}" dt="2025-03-12T15:36:56.232" v="34305"/>
          <ac:graphicFrameMkLst>
            <pc:docMk/>
            <pc:sldMk cId="781179208" sldId="2147376642"/>
            <ac:graphicFrameMk id="5" creationId="{6CAF3CFA-8A90-49F7-ED58-3A262469D369}"/>
          </ac:graphicFrameMkLst>
        </pc:graphicFrameChg>
        <pc:graphicFrameChg chg="mod modGraphic">
          <ac:chgData name="Magali Aurand" userId="8e613f04-88c6-478f-a50c-6543fd88c657" providerId="ADAL" clId="{C3295FBD-69E7-4C19-87B1-56C8457354BA}" dt="2025-05-07T09:28:24.426" v="79108" actId="20577"/>
          <ac:graphicFrameMkLst>
            <pc:docMk/>
            <pc:sldMk cId="781179208" sldId="2147376642"/>
            <ac:graphicFrameMk id="9" creationId="{FD030C7A-C617-B78D-45B9-2FCB642F1632}"/>
          </ac:graphicFrameMkLst>
        </pc:graphicFrameChg>
        <pc:graphicFrameChg chg="mod modGraphic">
          <ac:chgData name="Magali Aurand" userId="8e613f04-88c6-478f-a50c-6543fd88c657" providerId="ADAL" clId="{C3295FBD-69E7-4C19-87B1-56C8457354BA}" dt="2025-05-07T09:35:51.281" v="79779" actId="20577"/>
          <ac:graphicFrameMkLst>
            <pc:docMk/>
            <pc:sldMk cId="781179208" sldId="2147376642"/>
            <ac:graphicFrameMk id="10" creationId="{BFEDF1B4-5000-33C4-DFBE-0609C20271F7}"/>
          </ac:graphicFrameMkLst>
        </pc:graphicFrameChg>
        <pc:graphicFrameChg chg="mod modGraphic">
          <ac:chgData name="Magali Aurand" userId="8e613f04-88c6-478f-a50c-6543fd88c657" providerId="ADAL" clId="{C3295FBD-69E7-4C19-87B1-56C8457354BA}" dt="2025-05-07T09:33:05.609" v="79597" actId="20577"/>
          <ac:graphicFrameMkLst>
            <pc:docMk/>
            <pc:sldMk cId="781179208" sldId="2147376642"/>
            <ac:graphicFrameMk id="11" creationId="{6BFE0656-F6B8-24A0-FED6-ED5B865BB4C8}"/>
          </ac:graphicFrameMkLst>
        </pc:graphicFrameChg>
        <pc:graphicFrameChg chg="mod modGraphic">
          <ac:chgData name="Magali Aurand" userId="8e613f04-88c6-478f-a50c-6543fd88c657" providerId="ADAL" clId="{C3295FBD-69E7-4C19-87B1-56C8457354BA}" dt="2025-05-07T09:36:09.482" v="79785" actId="14100"/>
          <ac:graphicFrameMkLst>
            <pc:docMk/>
            <pc:sldMk cId="781179208" sldId="2147376642"/>
            <ac:graphicFrameMk id="12" creationId="{CD034502-ED68-2492-785F-7F1FBE1F5240}"/>
          </ac:graphicFrameMkLst>
        </pc:graphicFrameChg>
        <pc:picChg chg="add mod">
          <ac:chgData name="Magali Aurand" userId="8e613f04-88c6-478f-a50c-6543fd88c657" providerId="ADAL" clId="{C3295FBD-69E7-4C19-87B1-56C8457354BA}" dt="2025-04-09T13:52:35.627" v="72018" actId="207"/>
          <ac:picMkLst>
            <pc:docMk/>
            <pc:sldMk cId="781179208" sldId="2147376642"/>
            <ac:picMk id="14" creationId="{D089A1D6-C323-60EA-7062-BBE06DA671B2}"/>
          </ac:picMkLst>
        </pc:picChg>
        <pc:picChg chg="add mod">
          <ac:chgData name="Magali Aurand" userId="8e613f04-88c6-478f-a50c-6543fd88c657" providerId="ADAL" clId="{C3295FBD-69E7-4C19-87B1-56C8457354BA}" dt="2025-05-07T09:27:55.268" v="79099" actId="207"/>
          <ac:picMkLst>
            <pc:docMk/>
            <pc:sldMk cId="781179208" sldId="2147376642"/>
            <ac:picMk id="15" creationId="{32AFF90B-DE08-A577-17F8-FFF3B445FF4E}"/>
          </ac:picMkLst>
        </pc:picChg>
        <pc:picChg chg="add mod">
          <ac:chgData name="Magali Aurand" userId="8e613f04-88c6-478f-a50c-6543fd88c657" providerId="ADAL" clId="{C3295FBD-69E7-4C19-87B1-56C8457354BA}" dt="2025-03-12T17:32:55.297" v="41163"/>
          <ac:picMkLst>
            <pc:docMk/>
            <pc:sldMk cId="781179208" sldId="2147376642"/>
            <ac:picMk id="16" creationId="{E333A842-E95C-663F-94EA-787C304FDB35}"/>
          </ac:picMkLst>
        </pc:picChg>
        <pc:picChg chg="add del mod">
          <ac:chgData name="Magali Aurand" userId="8e613f04-88c6-478f-a50c-6543fd88c657" providerId="ADAL" clId="{C3295FBD-69E7-4C19-87B1-56C8457354BA}" dt="2025-05-07T09:32:29.349" v="79588" actId="478"/>
          <ac:picMkLst>
            <pc:docMk/>
            <pc:sldMk cId="781179208" sldId="2147376642"/>
            <ac:picMk id="1026" creationId="{60FC27D5-53D7-8485-31C7-0C01861FBF28}"/>
          </ac:picMkLst>
        </pc:picChg>
        <pc:picChg chg="add mod">
          <ac:chgData name="Magali Aurand" userId="8e613f04-88c6-478f-a50c-6543fd88c657" providerId="ADAL" clId="{C3295FBD-69E7-4C19-87B1-56C8457354BA}" dt="2025-05-07T09:12:02.361" v="77317" actId="1076"/>
          <ac:picMkLst>
            <pc:docMk/>
            <pc:sldMk cId="781179208" sldId="2147376642"/>
            <ac:picMk id="4104" creationId="{818754BF-FCAB-EC64-4F0D-F59A91AE2800}"/>
          </ac:picMkLst>
        </pc:picChg>
      </pc:sldChg>
      <pc:sldChg chg="addSp delSp modSp add mod modNotesTx">
        <pc:chgData name="Magali Aurand" userId="8e613f04-88c6-478f-a50c-6543fd88c657" providerId="ADAL" clId="{C3295FBD-69E7-4C19-87B1-56C8457354BA}" dt="2025-04-09T13:52:43.569" v="72020" actId="207"/>
        <pc:sldMkLst>
          <pc:docMk/>
          <pc:sldMk cId="2343604799" sldId="2147376643"/>
        </pc:sldMkLst>
        <pc:spChg chg="mod">
          <ac:chgData name="Magali Aurand" userId="8e613f04-88c6-478f-a50c-6543fd88c657" providerId="ADAL" clId="{C3295FBD-69E7-4C19-87B1-56C8457354BA}" dt="2025-03-12T16:05:17.537" v="34829" actId="948"/>
          <ac:spMkLst>
            <pc:docMk/>
            <pc:sldMk cId="2343604799" sldId="2147376643"/>
            <ac:spMk id="2" creationId="{ACF614BF-A483-E4C6-7661-CBE0AFD1F20D}"/>
          </ac:spMkLst>
        </pc:spChg>
        <pc:spChg chg="add mod">
          <ac:chgData name="Magali Aurand" userId="8e613f04-88c6-478f-a50c-6543fd88c657" providerId="ADAL" clId="{C3295FBD-69E7-4C19-87B1-56C8457354BA}" dt="2025-04-09T13:52:38.702" v="72019"/>
          <ac:spMkLst>
            <pc:docMk/>
            <pc:sldMk cId="2343604799" sldId="2147376643"/>
            <ac:spMk id="3" creationId="{C982BF27-8655-0F86-D65A-9610CE31E2DC}"/>
          </ac:spMkLst>
        </pc:spChg>
        <pc:spChg chg="add mod">
          <ac:chgData name="Magali Aurand" userId="8e613f04-88c6-478f-a50c-6543fd88c657" providerId="ADAL" clId="{C3295FBD-69E7-4C19-87B1-56C8457354BA}" dt="2025-03-12T16:24:25.009" v="36673" actId="1076"/>
          <ac:spMkLst>
            <pc:docMk/>
            <pc:sldMk cId="2343604799" sldId="2147376643"/>
            <ac:spMk id="7" creationId="{0568C6A9-132D-576D-6B70-BC37060DF609}"/>
          </ac:spMkLst>
        </pc:spChg>
        <pc:graphicFrameChg chg="mod">
          <ac:chgData name="Magali Aurand" userId="8e613f04-88c6-478f-a50c-6543fd88c657" providerId="ADAL" clId="{C3295FBD-69E7-4C19-87B1-56C8457354BA}" dt="2025-03-12T16:05:17.560" v="34853"/>
          <ac:graphicFrameMkLst>
            <pc:docMk/>
            <pc:sldMk cId="2343604799" sldId="2147376643"/>
            <ac:graphicFrameMk id="5" creationId="{6CAF3CFA-8A90-49F7-ED58-3A262469D369}"/>
          </ac:graphicFrameMkLst>
        </pc:graphicFrameChg>
        <pc:graphicFrameChg chg="modGraphic">
          <ac:chgData name="Magali Aurand" userId="8e613f04-88c6-478f-a50c-6543fd88c657" providerId="ADAL" clId="{C3295FBD-69E7-4C19-87B1-56C8457354BA}" dt="2025-03-12T16:13:53.072" v="35849" actId="20577"/>
          <ac:graphicFrameMkLst>
            <pc:docMk/>
            <pc:sldMk cId="2343604799" sldId="2147376643"/>
            <ac:graphicFrameMk id="9" creationId="{FD030C7A-C617-B78D-45B9-2FCB642F1632}"/>
          </ac:graphicFrameMkLst>
        </pc:graphicFrameChg>
        <pc:graphicFrameChg chg="mod modGraphic">
          <ac:chgData name="Magali Aurand" userId="8e613f04-88c6-478f-a50c-6543fd88c657" providerId="ADAL" clId="{C3295FBD-69E7-4C19-87B1-56C8457354BA}" dt="2025-03-12T16:19:45.330" v="36417" actId="20577"/>
          <ac:graphicFrameMkLst>
            <pc:docMk/>
            <pc:sldMk cId="2343604799" sldId="2147376643"/>
            <ac:graphicFrameMk id="10" creationId="{BFEDF1B4-5000-33C4-DFBE-0609C20271F7}"/>
          </ac:graphicFrameMkLst>
        </pc:graphicFrameChg>
        <pc:graphicFrameChg chg="mod modGraphic">
          <ac:chgData name="Magali Aurand" userId="8e613f04-88c6-478f-a50c-6543fd88c657" providerId="ADAL" clId="{C3295FBD-69E7-4C19-87B1-56C8457354BA}" dt="2025-03-12T16:20:37.040" v="36606" actId="20577"/>
          <ac:graphicFrameMkLst>
            <pc:docMk/>
            <pc:sldMk cId="2343604799" sldId="2147376643"/>
            <ac:graphicFrameMk id="11" creationId="{6BFE0656-F6B8-24A0-FED6-ED5B865BB4C8}"/>
          </ac:graphicFrameMkLst>
        </pc:graphicFrameChg>
        <pc:graphicFrameChg chg="mod modGraphic">
          <ac:chgData name="Magali Aurand" userId="8e613f04-88c6-478f-a50c-6543fd88c657" providerId="ADAL" clId="{C3295FBD-69E7-4C19-87B1-56C8457354BA}" dt="2025-03-12T16:21:48.287" v="36611" actId="1076"/>
          <ac:graphicFrameMkLst>
            <pc:docMk/>
            <pc:sldMk cId="2343604799" sldId="2147376643"/>
            <ac:graphicFrameMk id="12" creationId="{CD034502-ED68-2492-785F-7F1FBE1F5240}"/>
          </ac:graphicFrameMkLst>
        </pc:graphicFrameChg>
        <pc:picChg chg="add mod">
          <ac:chgData name="Magali Aurand" userId="8e613f04-88c6-478f-a50c-6543fd88c657" providerId="ADAL" clId="{C3295FBD-69E7-4C19-87B1-56C8457354BA}" dt="2025-04-09T13:52:43.569" v="72020" actId="207"/>
          <ac:picMkLst>
            <pc:docMk/>
            <pc:sldMk cId="2343604799" sldId="2147376643"/>
            <ac:picMk id="8" creationId="{178B615C-72EF-7619-2723-49CE6BDDF687}"/>
          </ac:picMkLst>
        </pc:picChg>
        <pc:picChg chg="add mod">
          <ac:chgData name="Magali Aurand" userId="8e613f04-88c6-478f-a50c-6543fd88c657" providerId="ADAL" clId="{C3295FBD-69E7-4C19-87B1-56C8457354BA}" dt="2025-03-12T17:33:05.993" v="41165"/>
          <ac:picMkLst>
            <pc:docMk/>
            <pc:sldMk cId="2343604799" sldId="2147376643"/>
            <ac:picMk id="13" creationId="{DFDB93CE-1127-A2F9-3184-FB6711E8EBC8}"/>
          </ac:picMkLst>
        </pc:picChg>
        <pc:picChg chg="add mod">
          <ac:chgData name="Magali Aurand" userId="8e613f04-88c6-478f-a50c-6543fd88c657" providerId="ADAL" clId="{C3295FBD-69E7-4C19-87B1-56C8457354BA}" dt="2025-03-12T17:33:05.993" v="41165"/>
          <ac:picMkLst>
            <pc:docMk/>
            <pc:sldMk cId="2343604799" sldId="2147376643"/>
            <ac:picMk id="14" creationId="{636DFE99-1FB8-C06D-6B99-337CCB5A9248}"/>
          </ac:picMkLst>
        </pc:picChg>
        <pc:picChg chg="add mod">
          <ac:chgData name="Magali Aurand" userId="8e613f04-88c6-478f-a50c-6543fd88c657" providerId="ADAL" clId="{C3295FBD-69E7-4C19-87B1-56C8457354BA}" dt="2025-03-12T16:24:42.520" v="36675" actId="1076"/>
          <ac:picMkLst>
            <pc:docMk/>
            <pc:sldMk cId="2343604799" sldId="2147376643"/>
            <ac:picMk id="5122" creationId="{D6266656-AE9B-DF73-C7C4-D42A8CC4280F}"/>
          </ac:picMkLst>
        </pc:picChg>
        <pc:picChg chg="add mod">
          <ac:chgData name="Magali Aurand" userId="8e613f04-88c6-478f-a50c-6543fd88c657" providerId="ADAL" clId="{C3295FBD-69E7-4C19-87B1-56C8457354BA}" dt="2025-03-12T16:23:44.812" v="36619" actId="14100"/>
          <ac:picMkLst>
            <pc:docMk/>
            <pc:sldMk cId="2343604799" sldId="2147376643"/>
            <ac:picMk id="5124" creationId="{6045C7C2-C5C6-B862-74EC-0AB9DDA5AFB5}"/>
          </ac:picMkLst>
        </pc:picChg>
      </pc:sldChg>
      <pc:sldChg chg="addSp delSp modSp add mod modNotesTx">
        <pc:chgData name="Magali Aurand" userId="8e613f04-88c6-478f-a50c-6543fd88c657" providerId="ADAL" clId="{C3295FBD-69E7-4C19-87B1-56C8457354BA}" dt="2025-04-09T13:52:52.025" v="72022" actId="207"/>
        <pc:sldMkLst>
          <pc:docMk/>
          <pc:sldMk cId="3031122584" sldId="2147376644"/>
        </pc:sldMkLst>
        <pc:spChg chg="mod">
          <ac:chgData name="Magali Aurand" userId="8e613f04-88c6-478f-a50c-6543fd88c657" providerId="ADAL" clId="{C3295FBD-69E7-4C19-87B1-56C8457354BA}" dt="2025-03-12T16:31:46.745" v="37187" actId="948"/>
          <ac:spMkLst>
            <pc:docMk/>
            <pc:sldMk cId="3031122584" sldId="2147376644"/>
            <ac:spMk id="2" creationId="{ACF614BF-A483-E4C6-7661-CBE0AFD1F20D}"/>
          </ac:spMkLst>
        </pc:spChg>
        <pc:spChg chg="add mod">
          <ac:chgData name="Magali Aurand" userId="8e613f04-88c6-478f-a50c-6543fd88c657" providerId="ADAL" clId="{C3295FBD-69E7-4C19-87B1-56C8457354BA}" dt="2025-04-09T13:52:46.125" v="72021"/>
          <ac:spMkLst>
            <pc:docMk/>
            <pc:sldMk cId="3031122584" sldId="2147376644"/>
            <ac:spMk id="3" creationId="{FD1695A1-D415-20B1-D36F-52D3715BA5F9}"/>
          </ac:spMkLst>
        </pc:spChg>
        <pc:spChg chg="add mod">
          <ac:chgData name="Magali Aurand" userId="8e613f04-88c6-478f-a50c-6543fd88c657" providerId="ADAL" clId="{C3295FBD-69E7-4C19-87B1-56C8457354BA}" dt="2025-03-12T16:49:14.788" v="38762" actId="20577"/>
          <ac:spMkLst>
            <pc:docMk/>
            <pc:sldMk cId="3031122584" sldId="2147376644"/>
            <ac:spMk id="24" creationId="{7ECE2810-DE8D-89AC-E45A-65F0DD57A6F5}"/>
          </ac:spMkLst>
        </pc:spChg>
        <pc:graphicFrameChg chg="mod">
          <ac:chgData name="Magali Aurand" userId="8e613f04-88c6-478f-a50c-6543fd88c657" providerId="ADAL" clId="{C3295FBD-69E7-4C19-87B1-56C8457354BA}" dt="2025-03-12T16:31:46.767" v="37211"/>
          <ac:graphicFrameMkLst>
            <pc:docMk/>
            <pc:sldMk cId="3031122584" sldId="2147376644"/>
            <ac:graphicFrameMk id="5" creationId="{6CAF3CFA-8A90-49F7-ED58-3A262469D369}"/>
          </ac:graphicFrameMkLst>
        </pc:graphicFrameChg>
        <pc:graphicFrameChg chg="mod modGraphic">
          <ac:chgData name="Magali Aurand" userId="8e613f04-88c6-478f-a50c-6543fd88c657" providerId="ADAL" clId="{C3295FBD-69E7-4C19-87B1-56C8457354BA}" dt="2025-03-12T16:51:32.164" v="38835" actId="20577"/>
          <ac:graphicFrameMkLst>
            <pc:docMk/>
            <pc:sldMk cId="3031122584" sldId="2147376644"/>
            <ac:graphicFrameMk id="9" creationId="{FD030C7A-C617-B78D-45B9-2FCB642F1632}"/>
          </ac:graphicFrameMkLst>
        </pc:graphicFrameChg>
        <pc:graphicFrameChg chg="mod modGraphic">
          <ac:chgData name="Magali Aurand" userId="8e613f04-88c6-478f-a50c-6543fd88c657" providerId="ADAL" clId="{C3295FBD-69E7-4C19-87B1-56C8457354BA}" dt="2025-03-12T16:52:17.134" v="38845" actId="1076"/>
          <ac:graphicFrameMkLst>
            <pc:docMk/>
            <pc:sldMk cId="3031122584" sldId="2147376644"/>
            <ac:graphicFrameMk id="10" creationId="{BFEDF1B4-5000-33C4-DFBE-0609C20271F7}"/>
          </ac:graphicFrameMkLst>
        </pc:graphicFrameChg>
        <pc:graphicFrameChg chg="mod modGraphic">
          <ac:chgData name="Magali Aurand" userId="8e613f04-88c6-478f-a50c-6543fd88c657" providerId="ADAL" clId="{C3295FBD-69E7-4C19-87B1-56C8457354BA}" dt="2025-03-12T16:52:35.513" v="38847" actId="1076"/>
          <ac:graphicFrameMkLst>
            <pc:docMk/>
            <pc:sldMk cId="3031122584" sldId="2147376644"/>
            <ac:graphicFrameMk id="11" creationId="{6BFE0656-F6B8-24A0-FED6-ED5B865BB4C8}"/>
          </ac:graphicFrameMkLst>
        </pc:graphicFrameChg>
        <pc:graphicFrameChg chg="mod modGraphic">
          <ac:chgData name="Magali Aurand" userId="8e613f04-88c6-478f-a50c-6543fd88c657" providerId="ADAL" clId="{C3295FBD-69E7-4C19-87B1-56C8457354BA}" dt="2025-03-12T16:52:25.634" v="38846" actId="1076"/>
          <ac:graphicFrameMkLst>
            <pc:docMk/>
            <pc:sldMk cId="3031122584" sldId="2147376644"/>
            <ac:graphicFrameMk id="12" creationId="{CD034502-ED68-2492-785F-7F1FBE1F5240}"/>
          </ac:graphicFrameMkLst>
        </pc:graphicFrameChg>
        <pc:picChg chg="add mod">
          <ac:chgData name="Magali Aurand" userId="8e613f04-88c6-478f-a50c-6543fd88c657" providerId="ADAL" clId="{C3295FBD-69E7-4C19-87B1-56C8457354BA}" dt="2025-03-12T17:33:36.630" v="41169" actId="27349"/>
          <ac:picMkLst>
            <pc:docMk/>
            <pc:sldMk cId="3031122584" sldId="2147376644"/>
            <ac:picMk id="27" creationId="{7AE59706-6974-44F6-3A42-3331FB772C0F}"/>
          </ac:picMkLst>
        </pc:picChg>
        <pc:picChg chg="add mod">
          <ac:chgData name="Magali Aurand" userId="8e613f04-88c6-478f-a50c-6543fd88c657" providerId="ADAL" clId="{C3295FBD-69E7-4C19-87B1-56C8457354BA}" dt="2025-03-12T17:33:23.757" v="41167"/>
          <ac:picMkLst>
            <pc:docMk/>
            <pc:sldMk cId="3031122584" sldId="2147376644"/>
            <ac:picMk id="28" creationId="{62EB7136-9C67-38A5-1E55-3E9821A76480}"/>
          </ac:picMkLst>
        </pc:picChg>
        <pc:picChg chg="add mod">
          <ac:chgData name="Magali Aurand" userId="8e613f04-88c6-478f-a50c-6543fd88c657" providerId="ADAL" clId="{C3295FBD-69E7-4C19-87B1-56C8457354BA}" dt="2025-04-09T13:52:52.025" v="72022" actId="207"/>
          <ac:picMkLst>
            <pc:docMk/>
            <pc:sldMk cId="3031122584" sldId="2147376644"/>
            <ac:picMk id="29" creationId="{BC6286D4-1325-0D8D-E114-B4636764A8D0}"/>
          </ac:picMkLst>
        </pc:picChg>
        <pc:picChg chg="add mod">
          <ac:chgData name="Magali Aurand" userId="8e613f04-88c6-478f-a50c-6543fd88c657" providerId="ADAL" clId="{C3295FBD-69E7-4C19-87B1-56C8457354BA}" dt="2025-03-12T16:52:47.066" v="38849" actId="1076"/>
          <ac:picMkLst>
            <pc:docMk/>
            <pc:sldMk cId="3031122584" sldId="2147376644"/>
            <ac:picMk id="6148" creationId="{662A6DEF-BC70-5FF8-2324-D9E4097EF6FD}"/>
          </ac:picMkLst>
        </pc:picChg>
        <pc:picChg chg="add mod">
          <ac:chgData name="Magali Aurand" userId="8e613f04-88c6-478f-a50c-6543fd88c657" providerId="ADAL" clId="{C3295FBD-69E7-4C19-87B1-56C8457354BA}" dt="2025-03-12T16:51:34.796" v="38836" actId="1076"/>
          <ac:picMkLst>
            <pc:docMk/>
            <pc:sldMk cId="3031122584" sldId="2147376644"/>
            <ac:picMk id="6150" creationId="{3D7F5EC5-5668-028D-3E56-18EAB6CACF45}"/>
          </ac:picMkLst>
        </pc:picChg>
        <pc:picChg chg="add mod">
          <ac:chgData name="Magali Aurand" userId="8e613f04-88c6-478f-a50c-6543fd88c657" providerId="ADAL" clId="{C3295FBD-69E7-4C19-87B1-56C8457354BA}" dt="2025-03-12T16:54:06.765" v="38855" actId="1076"/>
          <ac:picMkLst>
            <pc:docMk/>
            <pc:sldMk cId="3031122584" sldId="2147376644"/>
            <ac:picMk id="6152" creationId="{B8A3320D-6061-77FC-F90D-A153FDCB6765}"/>
          </ac:picMkLst>
        </pc:picChg>
      </pc:sldChg>
      <pc:sldChg chg="addSp delSp modSp add mod modNotesTx">
        <pc:chgData name="Magali Aurand" userId="8e613f04-88c6-478f-a50c-6543fd88c657" providerId="ADAL" clId="{C3295FBD-69E7-4C19-87B1-56C8457354BA}" dt="2025-04-09T13:52:54.510" v="72023"/>
        <pc:sldMkLst>
          <pc:docMk/>
          <pc:sldMk cId="3691914287" sldId="2147376645"/>
        </pc:sldMkLst>
        <pc:spChg chg="mod">
          <ac:chgData name="Magali Aurand" userId="8e613f04-88c6-478f-a50c-6543fd88c657" providerId="ADAL" clId="{C3295FBD-69E7-4C19-87B1-56C8457354BA}" dt="2025-03-12T16:56:56.138" v="38978" actId="948"/>
          <ac:spMkLst>
            <pc:docMk/>
            <pc:sldMk cId="3691914287" sldId="2147376645"/>
            <ac:spMk id="2" creationId="{ACF614BF-A483-E4C6-7661-CBE0AFD1F20D}"/>
          </ac:spMkLst>
        </pc:spChg>
        <pc:spChg chg="add mod">
          <ac:chgData name="Magali Aurand" userId="8e613f04-88c6-478f-a50c-6543fd88c657" providerId="ADAL" clId="{C3295FBD-69E7-4C19-87B1-56C8457354BA}" dt="2025-04-09T13:52:54.510" v="72023"/>
          <ac:spMkLst>
            <pc:docMk/>
            <pc:sldMk cId="3691914287" sldId="2147376645"/>
            <ac:spMk id="3" creationId="{E15D87DA-BB0A-0F58-FDB3-19FF67AE807B}"/>
          </ac:spMkLst>
        </pc:spChg>
        <pc:spChg chg="add mod">
          <ac:chgData name="Magali Aurand" userId="8e613f04-88c6-478f-a50c-6543fd88c657" providerId="ADAL" clId="{C3295FBD-69E7-4C19-87B1-56C8457354BA}" dt="2025-03-12T17:14:11.280" v="40856" actId="1036"/>
          <ac:spMkLst>
            <pc:docMk/>
            <pc:sldMk cId="3691914287" sldId="2147376645"/>
            <ac:spMk id="13" creationId="{AE9BD4C0-FB53-8FA1-705C-414476344478}"/>
          </ac:spMkLst>
        </pc:spChg>
        <pc:graphicFrameChg chg="mod">
          <ac:chgData name="Magali Aurand" userId="8e613f04-88c6-478f-a50c-6543fd88c657" providerId="ADAL" clId="{C3295FBD-69E7-4C19-87B1-56C8457354BA}" dt="2025-03-12T16:56:56.157" v="39002"/>
          <ac:graphicFrameMkLst>
            <pc:docMk/>
            <pc:sldMk cId="3691914287" sldId="2147376645"/>
            <ac:graphicFrameMk id="5" creationId="{6CAF3CFA-8A90-49F7-ED58-3A262469D369}"/>
          </ac:graphicFrameMkLst>
        </pc:graphicFrameChg>
        <pc:graphicFrameChg chg="mod modGraphic">
          <ac:chgData name="Magali Aurand" userId="8e613f04-88c6-478f-a50c-6543fd88c657" providerId="ADAL" clId="{C3295FBD-69E7-4C19-87B1-56C8457354BA}" dt="2025-03-12T17:14:11.280" v="40856" actId="1036"/>
          <ac:graphicFrameMkLst>
            <pc:docMk/>
            <pc:sldMk cId="3691914287" sldId="2147376645"/>
            <ac:graphicFrameMk id="9" creationId="{FD030C7A-C617-B78D-45B9-2FCB642F1632}"/>
          </ac:graphicFrameMkLst>
        </pc:graphicFrameChg>
        <pc:graphicFrameChg chg="mod modGraphic">
          <ac:chgData name="Magali Aurand" userId="8e613f04-88c6-478f-a50c-6543fd88c657" providerId="ADAL" clId="{C3295FBD-69E7-4C19-87B1-56C8457354BA}" dt="2025-03-12T17:14:11.280" v="40856" actId="1036"/>
          <ac:graphicFrameMkLst>
            <pc:docMk/>
            <pc:sldMk cId="3691914287" sldId="2147376645"/>
            <ac:graphicFrameMk id="10" creationId="{BFEDF1B4-5000-33C4-DFBE-0609C20271F7}"/>
          </ac:graphicFrameMkLst>
        </pc:graphicFrameChg>
        <pc:graphicFrameChg chg="mod modGraphic">
          <ac:chgData name="Magali Aurand" userId="8e613f04-88c6-478f-a50c-6543fd88c657" providerId="ADAL" clId="{C3295FBD-69E7-4C19-87B1-56C8457354BA}" dt="2025-03-12T17:14:11.280" v="40856" actId="1036"/>
          <ac:graphicFrameMkLst>
            <pc:docMk/>
            <pc:sldMk cId="3691914287" sldId="2147376645"/>
            <ac:graphicFrameMk id="11" creationId="{6BFE0656-F6B8-24A0-FED6-ED5B865BB4C8}"/>
          </ac:graphicFrameMkLst>
        </pc:graphicFrameChg>
        <pc:graphicFrameChg chg="mod modGraphic">
          <ac:chgData name="Magali Aurand" userId="8e613f04-88c6-478f-a50c-6543fd88c657" providerId="ADAL" clId="{C3295FBD-69E7-4C19-87B1-56C8457354BA}" dt="2025-03-12T17:18:49.342" v="40924" actId="20577"/>
          <ac:graphicFrameMkLst>
            <pc:docMk/>
            <pc:sldMk cId="3691914287" sldId="2147376645"/>
            <ac:graphicFrameMk id="12" creationId="{CD034502-ED68-2492-785F-7F1FBE1F5240}"/>
          </ac:graphicFrameMkLst>
        </pc:graphicFrameChg>
        <pc:picChg chg="add mod">
          <ac:chgData name="Magali Aurand" userId="8e613f04-88c6-478f-a50c-6543fd88c657" providerId="ADAL" clId="{C3295FBD-69E7-4C19-87B1-56C8457354BA}" dt="2025-03-12T17:14:11.280" v="40856" actId="1036"/>
          <ac:picMkLst>
            <pc:docMk/>
            <pc:sldMk cId="3691914287" sldId="2147376645"/>
            <ac:picMk id="8" creationId="{71A1EAE0-C859-7DAA-DC70-D15C4A50A31B}"/>
          </ac:picMkLst>
        </pc:picChg>
        <pc:picChg chg="add mod">
          <ac:chgData name="Magali Aurand" userId="8e613f04-88c6-478f-a50c-6543fd88c657" providerId="ADAL" clId="{C3295FBD-69E7-4C19-87B1-56C8457354BA}" dt="2025-03-12T17:17:19.778" v="40873" actId="14100"/>
          <ac:picMkLst>
            <pc:docMk/>
            <pc:sldMk cId="3691914287" sldId="2147376645"/>
            <ac:picMk id="17" creationId="{81C530DF-45B5-696E-E090-F0EBEAD24849}"/>
          </ac:picMkLst>
        </pc:picChg>
        <pc:picChg chg="add mod">
          <ac:chgData name="Magali Aurand" userId="8e613f04-88c6-478f-a50c-6543fd88c657" providerId="ADAL" clId="{C3295FBD-69E7-4C19-87B1-56C8457354BA}" dt="2025-03-12T17:17:10.972" v="40871" actId="1076"/>
          <ac:picMkLst>
            <pc:docMk/>
            <pc:sldMk cId="3691914287" sldId="2147376645"/>
            <ac:picMk id="19" creationId="{4D176DC7-2EC0-59E0-AA6F-7528DC0FAA31}"/>
          </ac:picMkLst>
        </pc:picChg>
        <pc:picChg chg="add mod">
          <ac:chgData name="Magali Aurand" userId="8e613f04-88c6-478f-a50c-6543fd88c657" providerId="ADAL" clId="{C3295FBD-69E7-4C19-87B1-56C8457354BA}" dt="2025-03-12T17:33:53.592" v="41172" actId="27349"/>
          <ac:picMkLst>
            <pc:docMk/>
            <pc:sldMk cId="3691914287" sldId="2147376645"/>
            <ac:picMk id="21" creationId="{E459477B-19B9-3FC8-1D8E-64FB26DA81A7}"/>
          </ac:picMkLst>
        </pc:picChg>
        <pc:picChg chg="add mod">
          <ac:chgData name="Magali Aurand" userId="8e613f04-88c6-478f-a50c-6543fd88c657" providerId="ADAL" clId="{C3295FBD-69E7-4C19-87B1-56C8457354BA}" dt="2025-03-12T17:33:43.575" v="41171"/>
          <ac:picMkLst>
            <pc:docMk/>
            <pc:sldMk cId="3691914287" sldId="2147376645"/>
            <ac:picMk id="22" creationId="{4615648C-CCAA-4772-0AEC-25AB73C94E58}"/>
          </ac:picMkLst>
        </pc:picChg>
        <pc:picChg chg="add mod">
          <ac:chgData name="Magali Aurand" userId="8e613f04-88c6-478f-a50c-6543fd88c657" providerId="ADAL" clId="{C3295FBD-69E7-4C19-87B1-56C8457354BA}" dt="2025-03-12T17:33:43.575" v="41171"/>
          <ac:picMkLst>
            <pc:docMk/>
            <pc:sldMk cId="3691914287" sldId="2147376645"/>
            <ac:picMk id="23" creationId="{EA6EC3FA-E077-93D5-8403-74205ECDA4B6}"/>
          </ac:picMkLst>
        </pc:picChg>
        <pc:picChg chg="add mod">
          <ac:chgData name="Magali Aurand" userId="8e613f04-88c6-478f-a50c-6543fd88c657" providerId="ADAL" clId="{C3295FBD-69E7-4C19-87B1-56C8457354BA}" dt="2025-03-12T17:17:32.049" v="40876" actId="1076"/>
          <ac:picMkLst>
            <pc:docMk/>
            <pc:sldMk cId="3691914287" sldId="2147376645"/>
            <ac:picMk id="7172" creationId="{CB1F05C3-9D48-C5A4-D4BC-D25B6FB961AE}"/>
          </ac:picMkLst>
        </pc:picChg>
      </pc:sldChg>
      <pc:sldChg chg="addSp delSp modSp add mod modNotesTx">
        <pc:chgData name="Magali Aurand" userId="8e613f04-88c6-478f-a50c-6543fd88c657" providerId="ADAL" clId="{C3295FBD-69E7-4C19-87B1-56C8457354BA}" dt="2025-04-09T13:53:03.739" v="72025" actId="207"/>
        <pc:sldMkLst>
          <pc:docMk/>
          <pc:sldMk cId="1906427287" sldId="2147376646"/>
        </pc:sldMkLst>
        <pc:spChg chg="mod">
          <ac:chgData name="Magali Aurand" userId="8e613f04-88c6-478f-a50c-6543fd88c657" providerId="ADAL" clId="{C3295FBD-69E7-4C19-87B1-56C8457354BA}" dt="2025-03-12T17:34:40.432" v="41214" actId="948"/>
          <ac:spMkLst>
            <pc:docMk/>
            <pc:sldMk cId="1906427287" sldId="2147376646"/>
            <ac:spMk id="2" creationId="{ACF614BF-A483-E4C6-7661-CBE0AFD1F20D}"/>
          </ac:spMkLst>
        </pc:spChg>
        <pc:spChg chg="add mod">
          <ac:chgData name="Magali Aurand" userId="8e613f04-88c6-478f-a50c-6543fd88c657" providerId="ADAL" clId="{C3295FBD-69E7-4C19-87B1-56C8457354BA}" dt="2025-04-09T13:52:57.152" v="72024"/>
          <ac:spMkLst>
            <pc:docMk/>
            <pc:sldMk cId="1906427287" sldId="2147376646"/>
            <ac:spMk id="3" creationId="{B482EC2A-9FA1-ADED-558E-D4191731A41C}"/>
          </ac:spMkLst>
        </pc:spChg>
        <pc:spChg chg="add mod">
          <ac:chgData name="Magali Aurand" userId="8e613f04-88c6-478f-a50c-6543fd88c657" providerId="ADAL" clId="{C3295FBD-69E7-4C19-87B1-56C8457354BA}" dt="2025-03-12T17:49:24.020" v="42432" actId="1076"/>
          <ac:spMkLst>
            <pc:docMk/>
            <pc:sldMk cId="1906427287" sldId="2147376646"/>
            <ac:spMk id="7" creationId="{29F5E1EF-A68A-6844-1555-49C0E23D348A}"/>
          </ac:spMkLst>
        </pc:spChg>
        <pc:graphicFrameChg chg="mod">
          <ac:chgData name="Magali Aurand" userId="8e613f04-88c6-478f-a50c-6543fd88c657" providerId="ADAL" clId="{C3295FBD-69E7-4C19-87B1-56C8457354BA}" dt="2025-03-12T17:34:40.449" v="41238"/>
          <ac:graphicFrameMkLst>
            <pc:docMk/>
            <pc:sldMk cId="1906427287" sldId="2147376646"/>
            <ac:graphicFrameMk id="5" creationId="{6CAF3CFA-8A90-49F7-ED58-3A262469D369}"/>
          </ac:graphicFrameMkLst>
        </pc:graphicFrameChg>
        <pc:graphicFrameChg chg="modGraphic">
          <ac:chgData name="Magali Aurand" userId="8e613f04-88c6-478f-a50c-6543fd88c657" providerId="ADAL" clId="{C3295FBD-69E7-4C19-87B1-56C8457354BA}" dt="2025-03-12T17:52:29.908" v="42561" actId="20577"/>
          <ac:graphicFrameMkLst>
            <pc:docMk/>
            <pc:sldMk cId="1906427287" sldId="2147376646"/>
            <ac:graphicFrameMk id="9" creationId="{FD030C7A-C617-B78D-45B9-2FCB642F1632}"/>
          </ac:graphicFrameMkLst>
        </pc:graphicFrameChg>
        <pc:graphicFrameChg chg="mod modGraphic">
          <ac:chgData name="Magali Aurand" userId="8e613f04-88c6-478f-a50c-6543fd88c657" providerId="ADAL" clId="{C3295FBD-69E7-4C19-87B1-56C8457354BA}" dt="2025-03-12T17:54:26.972" v="42779" actId="20577"/>
          <ac:graphicFrameMkLst>
            <pc:docMk/>
            <pc:sldMk cId="1906427287" sldId="2147376646"/>
            <ac:graphicFrameMk id="10" creationId="{BFEDF1B4-5000-33C4-DFBE-0609C20271F7}"/>
          </ac:graphicFrameMkLst>
        </pc:graphicFrameChg>
        <pc:graphicFrameChg chg="mod modGraphic">
          <ac:chgData name="Magali Aurand" userId="8e613f04-88c6-478f-a50c-6543fd88c657" providerId="ADAL" clId="{C3295FBD-69E7-4C19-87B1-56C8457354BA}" dt="2025-03-12T17:53:10.487" v="42646" actId="1076"/>
          <ac:graphicFrameMkLst>
            <pc:docMk/>
            <pc:sldMk cId="1906427287" sldId="2147376646"/>
            <ac:graphicFrameMk id="11" creationId="{6BFE0656-F6B8-24A0-FED6-ED5B865BB4C8}"/>
          </ac:graphicFrameMkLst>
        </pc:graphicFrameChg>
        <pc:graphicFrameChg chg="mod modGraphic">
          <ac:chgData name="Magali Aurand" userId="8e613f04-88c6-478f-a50c-6543fd88c657" providerId="ADAL" clId="{C3295FBD-69E7-4C19-87B1-56C8457354BA}" dt="2025-03-14T14:01:59.240" v="44672"/>
          <ac:graphicFrameMkLst>
            <pc:docMk/>
            <pc:sldMk cId="1906427287" sldId="2147376646"/>
            <ac:graphicFrameMk id="12" creationId="{CD034502-ED68-2492-785F-7F1FBE1F5240}"/>
          </ac:graphicFrameMkLst>
        </pc:graphicFrameChg>
        <pc:picChg chg="mod">
          <ac:chgData name="Magali Aurand" userId="8e613f04-88c6-478f-a50c-6543fd88c657" providerId="ADAL" clId="{C3295FBD-69E7-4C19-87B1-56C8457354BA}" dt="2025-03-12T17:36:21.030" v="41402" actId="27349"/>
          <ac:picMkLst>
            <pc:docMk/>
            <pc:sldMk cId="1906427287" sldId="2147376646"/>
            <ac:picMk id="14" creationId="{D089A1D6-C323-60EA-7062-BBE06DA671B2}"/>
          </ac:picMkLst>
        </pc:picChg>
        <pc:picChg chg="mod">
          <ac:chgData name="Magali Aurand" userId="8e613f04-88c6-478f-a50c-6543fd88c657" providerId="ADAL" clId="{C3295FBD-69E7-4C19-87B1-56C8457354BA}" dt="2025-03-12T17:36:21.030" v="41402" actId="27349"/>
          <ac:picMkLst>
            <pc:docMk/>
            <pc:sldMk cId="1906427287" sldId="2147376646"/>
            <ac:picMk id="15" creationId="{32AFF90B-DE08-A577-17F8-FFF3B445FF4E}"/>
          </ac:picMkLst>
        </pc:picChg>
        <pc:picChg chg="mod">
          <ac:chgData name="Magali Aurand" userId="8e613f04-88c6-478f-a50c-6543fd88c657" providerId="ADAL" clId="{C3295FBD-69E7-4C19-87B1-56C8457354BA}" dt="2025-04-09T13:53:03.739" v="72025" actId="207"/>
          <ac:picMkLst>
            <pc:docMk/>
            <pc:sldMk cId="1906427287" sldId="2147376646"/>
            <ac:picMk id="16" creationId="{E333A842-E95C-663F-94EA-787C304FDB35}"/>
          </ac:picMkLst>
        </pc:picChg>
        <pc:picChg chg="add mod">
          <ac:chgData name="Magali Aurand" userId="8e613f04-88c6-478f-a50c-6543fd88c657" providerId="ADAL" clId="{C3295FBD-69E7-4C19-87B1-56C8457354BA}" dt="2025-03-12T17:49:20.971" v="42431" actId="1035"/>
          <ac:picMkLst>
            <pc:docMk/>
            <pc:sldMk cId="1906427287" sldId="2147376646"/>
            <ac:picMk id="8202" creationId="{3FA8BE27-7262-24BA-1532-38B08017CAF4}"/>
          </ac:picMkLst>
        </pc:picChg>
        <pc:picChg chg="add mod">
          <ac:chgData name="Magali Aurand" userId="8e613f04-88c6-478f-a50c-6543fd88c657" providerId="ADAL" clId="{C3295FBD-69E7-4C19-87B1-56C8457354BA}" dt="2025-03-12T17:53:04.065" v="42645" actId="1076"/>
          <ac:picMkLst>
            <pc:docMk/>
            <pc:sldMk cId="1906427287" sldId="2147376646"/>
            <ac:picMk id="8204" creationId="{D239BC4A-E234-0DA9-CCE2-357F30415E74}"/>
          </ac:picMkLst>
        </pc:picChg>
      </pc:sldChg>
      <pc:sldChg chg="addSp delSp modSp add mod modNotesTx">
        <pc:chgData name="Magali Aurand" userId="8e613f04-88c6-478f-a50c-6543fd88c657" providerId="ADAL" clId="{C3295FBD-69E7-4C19-87B1-56C8457354BA}" dt="2025-04-09T13:53:13.208" v="72027" actId="207"/>
        <pc:sldMkLst>
          <pc:docMk/>
          <pc:sldMk cId="2783846659" sldId="2147376647"/>
        </pc:sldMkLst>
        <pc:spChg chg="mod">
          <ac:chgData name="Magali Aurand" userId="8e613f04-88c6-478f-a50c-6543fd88c657" providerId="ADAL" clId="{C3295FBD-69E7-4C19-87B1-56C8457354BA}" dt="2025-03-12T17:55:44.233" v="42823" actId="948"/>
          <ac:spMkLst>
            <pc:docMk/>
            <pc:sldMk cId="2783846659" sldId="2147376647"/>
            <ac:spMk id="2" creationId="{ACF614BF-A483-E4C6-7661-CBE0AFD1F20D}"/>
          </ac:spMkLst>
        </pc:spChg>
        <pc:spChg chg="add mod">
          <ac:chgData name="Magali Aurand" userId="8e613f04-88c6-478f-a50c-6543fd88c657" providerId="ADAL" clId="{C3295FBD-69E7-4C19-87B1-56C8457354BA}" dt="2025-04-09T13:53:06.542" v="72026"/>
          <ac:spMkLst>
            <pc:docMk/>
            <pc:sldMk cId="2783846659" sldId="2147376647"/>
            <ac:spMk id="3" creationId="{F50AB68C-6249-D529-C4EA-D6B2A90C9FA0}"/>
          </ac:spMkLst>
        </pc:spChg>
        <pc:graphicFrameChg chg="mod">
          <ac:chgData name="Magali Aurand" userId="8e613f04-88c6-478f-a50c-6543fd88c657" providerId="ADAL" clId="{C3295FBD-69E7-4C19-87B1-56C8457354BA}" dt="2025-03-12T17:55:44.254" v="42847"/>
          <ac:graphicFrameMkLst>
            <pc:docMk/>
            <pc:sldMk cId="2783846659" sldId="2147376647"/>
            <ac:graphicFrameMk id="5" creationId="{6CAF3CFA-8A90-49F7-ED58-3A262469D369}"/>
          </ac:graphicFrameMkLst>
        </pc:graphicFrameChg>
        <pc:graphicFrameChg chg="modGraphic">
          <ac:chgData name="Magali Aurand" userId="8e613f04-88c6-478f-a50c-6543fd88c657" providerId="ADAL" clId="{C3295FBD-69E7-4C19-87B1-56C8457354BA}" dt="2025-03-12T18:01:12.543" v="43175" actId="20577"/>
          <ac:graphicFrameMkLst>
            <pc:docMk/>
            <pc:sldMk cId="2783846659" sldId="2147376647"/>
            <ac:graphicFrameMk id="9" creationId="{FD030C7A-C617-B78D-45B9-2FCB642F1632}"/>
          </ac:graphicFrameMkLst>
        </pc:graphicFrameChg>
        <pc:graphicFrameChg chg="mod modGraphic">
          <ac:chgData name="Magali Aurand" userId="8e613f04-88c6-478f-a50c-6543fd88c657" providerId="ADAL" clId="{C3295FBD-69E7-4C19-87B1-56C8457354BA}" dt="2025-03-14T13:57:18.584" v="43838" actId="20577"/>
          <ac:graphicFrameMkLst>
            <pc:docMk/>
            <pc:sldMk cId="2783846659" sldId="2147376647"/>
            <ac:graphicFrameMk id="10" creationId="{BFEDF1B4-5000-33C4-DFBE-0609C20271F7}"/>
          </ac:graphicFrameMkLst>
        </pc:graphicFrameChg>
        <pc:graphicFrameChg chg="mod modGraphic">
          <ac:chgData name="Magali Aurand" userId="8e613f04-88c6-478f-a50c-6543fd88c657" providerId="ADAL" clId="{C3295FBD-69E7-4C19-87B1-56C8457354BA}" dt="2025-03-14T14:02:26.592" v="44682" actId="14100"/>
          <ac:graphicFrameMkLst>
            <pc:docMk/>
            <pc:sldMk cId="2783846659" sldId="2147376647"/>
            <ac:graphicFrameMk id="11" creationId="{6BFE0656-F6B8-24A0-FED6-ED5B865BB4C8}"/>
          </ac:graphicFrameMkLst>
        </pc:graphicFrameChg>
        <pc:graphicFrameChg chg="mod modGraphic">
          <ac:chgData name="Magali Aurand" userId="8e613f04-88c6-478f-a50c-6543fd88c657" providerId="ADAL" clId="{C3295FBD-69E7-4C19-87B1-56C8457354BA}" dt="2025-03-14T14:02:05.735" v="44676" actId="20577"/>
          <ac:graphicFrameMkLst>
            <pc:docMk/>
            <pc:sldMk cId="2783846659" sldId="2147376647"/>
            <ac:graphicFrameMk id="12" creationId="{CD034502-ED68-2492-785F-7F1FBE1F5240}"/>
          </ac:graphicFrameMkLst>
        </pc:graphicFrameChg>
        <pc:picChg chg="mod">
          <ac:chgData name="Magali Aurand" userId="8e613f04-88c6-478f-a50c-6543fd88c657" providerId="ADAL" clId="{C3295FBD-69E7-4C19-87B1-56C8457354BA}" dt="2025-04-09T13:53:13.208" v="72027" actId="207"/>
          <ac:picMkLst>
            <pc:docMk/>
            <pc:sldMk cId="2783846659" sldId="2147376647"/>
            <ac:picMk id="14" creationId="{D089A1D6-C323-60EA-7062-BBE06DA671B2}"/>
          </ac:picMkLst>
        </pc:picChg>
        <pc:picChg chg="mod">
          <ac:chgData name="Magali Aurand" userId="8e613f04-88c6-478f-a50c-6543fd88c657" providerId="ADAL" clId="{C3295FBD-69E7-4C19-87B1-56C8457354BA}" dt="2025-03-12T17:59:40.043" v="43134" actId="27349"/>
          <ac:picMkLst>
            <pc:docMk/>
            <pc:sldMk cId="2783846659" sldId="2147376647"/>
            <ac:picMk id="15" creationId="{32AFF90B-DE08-A577-17F8-FFF3B445FF4E}"/>
          </ac:picMkLst>
        </pc:picChg>
        <pc:picChg chg="mod">
          <ac:chgData name="Magali Aurand" userId="8e613f04-88c6-478f-a50c-6543fd88c657" providerId="ADAL" clId="{C3295FBD-69E7-4C19-87B1-56C8457354BA}" dt="2025-04-09T13:53:13.208" v="72027" actId="207"/>
          <ac:picMkLst>
            <pc:docMk/>
            <pc:sldMk cId="2783846659" sldId="2147376647"/>
            <ac:picMk id="16" creationId="{E333A842-E95C-663F-94EA-787C304FDB35}"/>
          </ac:picMkLst>
        </pc:picChg>
        <pc:picChg chg="add mod">
          <ac:chgData name="Magali Aurand" userId="8e613f04-88c6-478f-a50c-6543fd88c657" providerId="ADAL" clId="{C3295FBD-69E7-4C19-87B1-56C8457354BA}" dt="2025-03-12T18:03:36.088" v="43203" actId="1038"/>
          <ac:picMkLst>
            <pc:docMk/>
            <pc:sldMk cId="2783846659" sldId="2147376647"/>
            <ac:picMk id="9218" creationId="{A834509A-7091-B4CE-E2ED-D4EE8A87A373}"/>
          </ac:picMkLst>
        </pc:picChg>
        <pc:picChg chg="add mod">
          <ac:chgData name="Magali Aurand" userId="8e613f04-88c6-478f-a50c-6543fd88c657" providerId="ADAL" clId="{C3295FBD-69E7-4C19-87B1-56C8457354BA}" dt="2025-03-12T18:03:52.945" v="43209" actId="1038"/>
          <ac:picMkLst>
            <pc:docMk/>
            <pc:sldMk cId="2783846659" sldId="2147376647"/>
            <ac:picMk id="9220" creationId="{57D1153D-1B65-F516-912F-74737F30936F}"/>
          </ac:picMkLst>
        </pc:picChg>
        <pc:picChg chg="add mod">
          <ac:chgData name="Magali Aurand" userId="8e613f04-88c6-478f-a50c-6543fd88c657" providerId="ADAL" clId="{C3295FBD-69E7-4C19-87B1-56C8457354BA}" dt="2025-03-12T18:03:46.617" v="43205" actId="1076"/>
          <ac:picMkLst>
            <pc:docMk/>
            <pc:sldMk cId="2783846659" sldId="2147376647"/>
            <ac:picMk id="9224" creationId="{92E81570-D508-DCC9-CAC2-9CE72305D969}"/>
          </ac:picMkLst>
        </pc:picChg>
        <pc:picChg chg="add mod">
          <ac:chgData name="Magali Aurand" userId="8e613f04-88c6-478f-a50c-6543fd88c657" providerId="ADAL" clId="{C3295FBD-69E7-4C19-87B1-56C8457354BA}" dt="2025-03-14T14:03:12.877" v="44688" actId="1076"/>
          <ac:picMkLst>
            <pc:docMk/>
            <pc:sldMk cId="2783846659" sldId="2147376647"/>
            <ac:picMk id="9226" creationId="{C9A64909-564B-A6DA-C5E9-188646DA20F2}"/>
          </ac:picMkLst>
        </pc:picChg>
      </pc:sldChg>
      <pc:sldChg chg="del">
        <pc:chgData name="Magali Aurand" userId="8e613f04-88c6-478f-a50c-6543fd88c657" providerId="ADAL" clId="{C3295FBD-69E7-4C19-87B1-56C8457354BA}" dt="2025-02-25T14:55:39.372" v="211" actId="47"/>
        <pc:sldMkLst>
          <pc:docMk/>
          <pc:sldMk cId="1938595221" sldId="2147376648"/>
        </pc:sldMkLst>
      </pc:sldChg>
      <pc:sldChg chg="addSp delSp modSp add mod">
        <pc:chgData name="Magali Aurand" userId="8e613f04-88c6-478f-a50c-6543fd88c657" providerId="ADAL" clId="{C3295FBD-69E7-4C19-87B1-56C8457354BA}" dt="2025-04-09T13:53:23.766" v="72031" actId="207"/>
        <pc:sldMkLst>
          <pc:docMk/>
          <pc:sldMk cId="2993843253" sldId="2147376648"/>
        </pc:sldMkLst>
        <pc:spChg chg="mod">
          <ac:chgData name="Magali Aurand" userId="8e613f04-88c6-478f-a50c-6543fd88c657" providerId="ADAL" clId="{C3295FBD-69E7-4C19-87B1-56C8457354BA}" dt="2025-03-14T14:10:01.542" v="44799" actId="948"/>
          <ac:spMkLst>
            <pc:docMk/>
            <pc:sldMk cId="2993843253" sldId="2147376648"/>
            <ac:spMk id="2" creationId="{ACF614BF-A483-E4C6-7661-CBE0AFD1F20D}"/>
          </ac:spMkLst>
        </pc:spChg>
        <pc:spChg chg="add mod">
          <ac:chgData name="Magali Aurand" userId="8e613f04-88c6-478f-a50c-6543fd88c657" providerId="ADAL" clId="{C3295FBD-69E7-4C19-87B1-56C8457354BA}" dt="2025-04-09T13:53:17.604" v="72030" actId="20577"/>
          <ac:spMkLst>
            <pc:docMk/>
            <pc:sldMk cId="2993843253" sldId="2147376648"/>
            <ac:spMk id="3" creationId="{6F3B33C8-003C-BD4A-7BB4-7A9D6F631D15}"/>
          </ac:spMkLst>
        </pc:spChg>
        <pc:spChg chg="add mod">
          <ac:chgData name="Magali Aurand" userId="8e613f04-88c6-478f-a50c-6543fd88c657" providerId="ADAL" clId="{C3295FBD-69E7-4C19-87B1-56C8457354BA}" dt="2025-03-14T14:27:44.517" v="45958" actId="20577"/>
          <ac:spMkLst>
            <pc:docMk/>
            <pc:sldMk cId="2993843253" sldId="2147376648"/>
            <ac:spMk id="8" creationId="{EB5F6C65-A87F-9950-37F3-66AF54360E8D}"/>
          </ac:spMkLst>
        </pc:spChg>
        <pc:graphicFrameChg chg="mod">
          <ac:chgData name="Magali Aurand" userId="8e613f04-88c6-478f-a50c-6543fd88c657" providerId="ADAL" clId="{C3295FBD-69E7-4C19-87B1-56C8457354BA}" dt="2025-03-14T14:10:01.560" v="44823"/>
          <ac:graphicFrameMkLst>
            <pc:docMk/>
            <pc:sldMk cId="2993843253" sldId="2147376648"/>
            <ac:graphicFrameMk id="5" creationId="{6CAF3CFA-8A90-49F7-ED58-3A262469D369}"/>
          </ac:graphicFrameMkLst>
        </pc:graphicFrameChg>
        <pc:graphicFrameChg chg="modGraphic">
          <ac:chgData name="Magali Aurand" userId="8e613f04-88c6-478f-a50c-6543fd88c657" providerId="ADAL" clId="{C3295FBD-69E7-4C19-87B1-56C8457354BA}" dt="2025-03-14T14:26:56.840" v="45930" actId="20577"/>
          <ac:graphicFrameMkLst>
            <pc:docMk/>
            <pc:sldMk cId="2993843253" sldId="2147376648"/>
            <ac:graphicFrameMk id="9" creationId="{FD030C7A-C617-B78D-45B9-2FCB642F1632}"/>
          </ac:graphicFrameMkLst>
        </pc:graphicFrameChg>
        <pc:graphicFrameChg chg="mod modGraphic">
          <ac:chgData name="Magali Aurand" userId="8e613f04-88c6-478f-a50c-6543fd88c657" providerId="ADAL" clId="{C3295FBD-69E7-4C19-87B1-56C8457354BA}" dt="2025-03-14T14:30:25.857" v="45998" actId="1076"/>
          <ac:graphicFrameMkLst>
            <pc:docMk/>
            <pc:sldMk cId="2993843253" sldId="2147376648"/>
            <ac:graphicFrameMk id="10" creationId="{BFEDF1B4-5000-33C4-DFBE-0609C20271F7}"/>
          </ac:graphicFrameMkLst>
        </pc:graphicFrameChg>
        <pc:graphicFrameChg chg="mod modGraphic">
          <ac:chgData name="Magali Aurand" userId="8e613f04-88c6-478f-a50c-6543fd88c657" providerId="ADAL" clId="{C3295FBD-69E7-4C19-87B1-56C8457354BA}" dt="2025-03-14T14:30:31.226" v="45999" actId="1076"/>
          <ac:graphicFrameMkLst>
            <pc:docMk/>
            <pc:sldMk cId="2993843253" sldId="2147376648"/>
            <ac:graphicFrameMk id="11" creationId="{6BFE0656-F6B8-24A0-FED6-ED5B865BB4C8}"/>
          </ac:graphicFrameMkLst>
        </pc:graphicFrameChg>
        <pc:graphicFrameChg chg="mod modGraphic">
          <ac:chgData name="Magali Aurand" userId="8e613f04-88c6-478f-a50c-6543fd88c657" providerId="ADAL" clId="{C3295FBD-69E7-4C19-87B1-56C8457354BA}" dt="2025-03-14T14:29:45.010" v="45993" actId="1035"/>
          <ac:graphicFrameMkLst>
            <pc:docMk/>
            <pc:sldMk cId="2993843253" sldId="2147376648"/>
            <ac:graphicFrameMk id="12" creationId="{CD034502-ED68-2492-785F-7F1FBE1F5240}"/>
          </ac:graphicFrameMkLst>
        </pc:graphicFrameChg>
        <pc:picChg chg="mod">
          <ac:chgData name="Magali Aurand" userId="8e613f04-88c6-478f-a50c-6543fd88c657" providerId="ADAL" clId="{C3295FBD-69E7-4C19-87B1-56C8457354BA}" dt="2025-04-09T13:53:23.766" v="72031" actId="207"/>
          <ac:picMkLst>
            <pc:docMk/>
            <pc:sldMk cId="2993843253" sldId="2147376648"/>
            <ac:picMk id="14" creationId="{D089A1D6-C323-60EA-7062-BBE06DA671B2}"/>
          </ac:picMkLst>
        </pc:picChg>
        <pc:picChg chg="mod">
          <ac:chgData name="Magali Aurand" userId="8e613f04-88c6-478f-a50c-6543fd88c657" providerId="ADAL" clId="{C3295FBD-69E7-4C19-87B1-56C8457354BA}" dt="2025-03-14T14:13:46.956" v="45013" actId="27349"/>
          <ac:picMkLst>
            <pc:docMk/>
            <pc:sldMk cId="2993843253" sldId="2147376648"/>
            <ac:picMk id="15" creationId="{32AFF90B-DE08-A577-17F8-FFF3B445FF4E}"/>
          </ac:picMkLst>
        </pc:picChg>
        <pc:picChg chg="add mod">
          <ac:chgData name="Magali Aurand" userId="8e613f04-88c6-478f-a50c-6543fd88c657" providerId="ADAL" clId="{C3295FBD-69E7-4C19-87B1-56C8457354BA}" dt="2025-03-14T14:31:26.115" v="46002" actId="1582"/>
          <ac:picMkLst>
            <pc:docMk/>
            <pc:sldMk cId="2993843253" sldId="2147376648"/>
            <ac:picMk id="19" creationId="{D763EC0A-4DEC-BA60-8162-265788BAA4CF}"/>
          </ac:picMkLst>
        </pc:picChg>
        <pc:picChg chg="add mod">
          <ac:chgData name="Magali Aurand" userId="8e613f04-88c6-478f-a50c-6543fd88c657" providerId="ADAL" clId="{C3295FBD-69E7-4C19-87B1-56C8457354BA}" dt="2025-03-14T14:27:33.909" v="45938" actId="1036"/>
          <ac:picMkLst>
            <pc:docMk/>
            <pc:sldMk cId="2993843253" sldId="2147376648"/>
            <ac:picMk id="10242" creationId="{CAEBDBDF-E852-FD99-AE69-B593629C6146}"/>
          </ac:picMkLst>
        </pc:picChg>
      </pc:sldChg>
      <pc:sldChg chg="addSp delSp modSp add mod">
        <pc:chgData name="Magali Aurand" userId="8e613f04-88c6-478f-a50c-6543fd88c657" providerId="ADAL" clId="{C3295FBD-69E7-4C19-87B1-56C8457354BA}" dt="2025-04-09T13:53:32.958" v="72033"/>
        <pc:sldMkLst>
          <pc:docMk/>
          <pc:sldMk cId="2337417877" sldId="2147376649"/>
        </pc:sldMkLst>
        <pc:spChg chg="mod">
          <ac:chgData name="Magali Aurand" userId="8e613f04-88c6-478f-a50c-6543fd88c657" providerId="ADAL" clId="{C3295FBD-69E7-4C19-87B1-56C8457354BA}" dt="2025-03-17T16:12:48.027" v="46084" actId="948"/>
          <ac:spMkLst>
            <pc:docMk/>
            <pc:sldMk cId="2337417877" sldId="2147376649"/>
            <ac:spMk id="2" creationId="{ACF614BF-A483-E4C6-7661-CBE0AFD1F20D}"/>
          </ac:spMkLst>
        </pc:spChg>
        <pc:spChg chg="add mod">
          <ac:chgData name="Magali Aurand" userId="8e613f04-88c6-478f-a50c-6543fd88c657" providerId="ADAL" clId="{C3295FBD-69E7-4C19-87B1-56C8457354BA}" dt="2025-04-09T13:53:32.958" v="72033"/>
          <ac:spMkLst>
            <pc:docMk/>
            <pc:sldMk cId="2337417877" sldId="2147376649"/>
            <ac:spMk id="3" creationId="{83997E06-3BB5-267A-4F69-2D288022EEE7}"/>
          </ac:spMkLst>
        </pc:spChg>
        <pc:graphicFrameChg chg="mod">
          <ac:chgData name="Magali Aurand" userId="8e613f04-88c6-478f-a50c-6543fd88c657" providerId="ADAL" clId="{C3295FBD-69E7-4C19-87B1-56C8457354BA}" dt="2025-03-17T16:12:48.050" v="46108"/>
          <ac:graphicFrameMkLst>
            <pc:docMk/>
            <pc:sldMk cId="2337417877" sldId="2147376649"/>
            <ac:graphicFrameMk id="5" creationId="{6CAF3CFA-8A90-49F7-ED58-3A262469D369}"/>
          </ac:graphicFrameMkLst>
        </pc:graphicFrameChg>
        <pc:graphicFrameChg chg="mod modGraphic">
          <ac:chgData name="Magali Aurand" userId="8e613f04-88c6-478f-a50c-6543fd88c657" providerId="ADAL" clId="{C3295FBD-69E7-4C19-87B1-56C8457354BA}" dt="2025-03-17T16:53:57.146" v="46687" actId="20577"/>
          <ac:graphicFrameMkLst>
            <pc:docMk/>
            <pc:sldMk cId="2337417877" sldId="2147376649"/>
            <ac:graphicFrameMk id="9" creationId="{FD030C7A-C617-B78D-45B9-2FCB642F1632}"/>
          </ac:graphicFrameMkLst>
        </pc:graphicFrameChg>
        <pc:graphicFrameChg chg="mod modGraphic">
          <ac:chgData name="Magali Aurand" userId="8e613f04-88c6-478f-a50c-6543fd88c657" providerId="ADAL" clId="{C3295FBD-69E7-4C19-87B1-56C8457354BA}" dt="2025-03-17T16:58:02.416" v="46975" actId="20577"/>
          <ac:graphicFrameMkLst>
            <pc:docMk/>
            <pc:sldMk cId="2337417877" sldId="2147376649"/>
            <ac:graphicFrameMk id="10" creationId="{BFEDF1B4-5000-33C4-DFBE-0609C20271F7}"/>
          </ac:graphicFrameMkLst>
        </pc:graphicFrameChg>
        <pc:graphicFrameChg chg="mod modGraphic">
          <ac:chgData name="Magali Aurand" userId="8e613f04-88c6-478f-a50c-6543fd88c657" providerId="ADAL" clId="{C3295FBD-69E7-4C19-87B1-56C8457354BA}" dt="2025-03-17T16:59:40.351" v="47301" actId="14100"/>
          <ac:graphicFrameMkLst>
            <pc:docMk/>
            <pc:sldMk cId="2337417877" sldId="2147376649"/>
            <ac:graphicFrameMk id="11" creationId="{6BFE0656-F6B8-24A0-FED6-ED5B865BB4C8}"/>
          </ac:graphicFrameMkLst>
        </pc:graphicFrameChg>
        <pc:graphicFrameChg chg="mod modGraphic">
          <ac:chgData name="Magali Aurand" userId="8e613f04-88c6-478f-a50c-6543fd88c657" providerId="ADAL" clId="{C3295FBD-69E7-4C19-87B1-56C8457354BA}" dt="2025-03-17T16:59:59.070" v="47307" actId="14100"/>
          <ac:graphicFrameMkLst>
            <pc:docMk/>
            <pc:sldMk cId="2337417877" sldId="2147376649"/>
            <ac:graphicFrameMk id="12" creationId="{CD034502-ED68-2492-785F-7F1FBE1F5240}"/>
          </ac:graphicFrameMkLst>
        </pc:graphicFrameChg>
        <pc:picChg chg="mod">
          <ac:chgData name="Magali Aurand" userId="8e613f04-88c6-478f-a50c-6543fd88c657" providerId="ADAL" clId="{C3295FBD-69E7-4C19-87B1-56C8457354BA}" dt="2025-04-09T13:53:31.616" v="72032" actId="207"/>
          <ac:picMkLst>
            <pc:docMk/>
            <pc:sldMk cId="2337417877" sldId="2147376649"/>
            <ac:picMk id="14" creationId="{D089A1D6-C323-60EA-7062-BBE06DA671B2}"/>
          </ac:picMkLst>
        </pc:picChg>
        <pc:picChg chg="mod">
          <ac:chgData name="Magali Aurand" userId="8e613f04-88c6-478f-a50c-6543fd88c657" providerId="ADAL" clId="{C3295FBD-69E7-4C19-87B1-56C8457354BA}" dt="2025-04-09T13:53:31.616" v="72032" actId="207"/>
          <ac:picMkLst>
            <pc:docMk/>
            <pc:sldMk cId="2337417877" sldId="2147376649"/>
            <ac:picMk id="15" creationId="{32AFF90B-DE08-A577-17F8-FFF3B445FF4E}"/>
          </ac:picMkLst>
        </pc:picChg>
        <pc:picChg chg="add mod">
          <ac:chgData name="Magali Aurand" userId="8e613f04-88c6-478f-a50c-6543fd88c657" providerId="ADAL" clId="{C3295FBD-69E7-4C19-87B1-56C8457354BA}" dt="2025-03-17T16:51:06.257" v="46606" actId="1076"/>
          <ac:picMkLst>
            <pc:docMk/>
            <pc:sldMk cId="2337417877" sldId="2147376649"/>
            <ac:picMk id="11266" creationId="{CAEA76B3-11A5-1279-DD11-83C65F762003}"/>
          </ac:picMkLst>
        </pc:picChg>
        <pc:picChg chg="add mod">
          <ac:chgData name="Magali Aurand" userId="8e613f04-88c6-478f-a50c-6543fd88c657" providerId="ADAL" clId="{C3295FBD-69E7-4C19-87B1-56C8457354BA}" dt="2025-03-17T16:52:18.413" v="46609" actId="1076"/>
          <ac:picMkLst>
            <pc:docMk/>
            <pc:sldMk cId="2337417877" sldId="2147376649"/>
            <ac:picMk id="11268" creationId="{BDB87ACE-4B0C-BF66-6577-614A87A4A727}"/>
          </ac:picMkLst>
        </pc:picChg>
      </pc:sldChg>
      <pc:sldChg chg="addSp delSp modSp add mod">
        <pc:chgData name="Magali Aurand" userId="8e613f04-88c6-478f-a50c-6543fd88c657" providerId="ADAL" clId="{C3295FBD-69E7-4C19-87B1-56C8457354BA}" dt="2025-04-09T13:53:59.622" v="72048" actId="1035"/>
        <pc:sldMkLst>
          <pc:docMk/>
          <pc:sldMk cId="1200353829" sldId="2147376650"/>
        </pc:sldMkLst>
        <pc:spChg chg="mod">
          <ac:chgData name="Magali Aurand" userId="8e613f04-88c6-478f-a50c-6543fd88c657" providerId="ADAL" clId="{C3295FBD-69E7-4C19-87B1-56C8457354BA}" dt="2025-03-17T18:29:19.791" v="49344" actId="948"/>
          <ac:spMkLst>
            <pc:docMk/>
            <pc:sldMk cId="1200353829" sldId="2147376650"/>
            <ac:spMk id="2" creationId="{ACF614BF-A483-E4C6-7661-CBE0AFD1F20D}"/>
          </ac:spMkLst>
        </pc:spChg>
        <pc:spChg chg="add mod">
          <ac:chgData name="Magali Aurand" userId="8e613f04-88c6-478f-a50c-6543fd88c657" providerId="ADAL" clId="{C3295FBD-69E7-4C19-87B1-56C8457354BA}" dt="2025-04-09T13:53:40.048" v="72034"/>
          <ac:spMkLst>
            <pc:docMk/>
            <pc:sldMk cId="1200353829" sldId="2147376650"/>
            <ac:spMk id="3" creationId="{95686DF3-9AB2-92D7-18D6-E93D8C1A7890}"/>
          </ac:spMkLst>
        </pc:spChg>
        <pc:spChg chg="add mod">
          <ac:chgData name="Magali Aurand" userId="8e613f04-88c6-478f-a50c-6543fd88c657" providerId="ADAL" clId="{C3295FBD-69E7-4C19-87B1-56C8457354BA}" dt="2025-04-09T13:53:59.622" v="72048" actId="1035"/>
          <ac:spMkLst>
            <pc:docMk/>
            <pc:sldMk cId="1200353829" sldId="2147376650"/>
            <ac:spMk id="6" creationId="{A866DE82-ADAB-B286-6BB3-052098CE531D}"/>
          </ac:spMkLst>
        </pc:spChg>
        <pc:graphicFrameChg chg="mod">
          <ac:chgData name="Magali Aurand" userId="8e613f04-88c6-478f-a50c-6543fd88c657" providerId="ADAL" clId="{C3295FBD-69E7-4C19-87B1-56C8457354BA}" dt="2025-03-17T18:29:19.813" v="49368"/>
          <ac:graphicFrameMkLst>
            <pc:docMk/>
            <pc:sldMk cId="1200353829" sldId="2147376650"/>
            <ac:graphicFrameMk id="5" creationId="{6CAF3CFA-8A90-49F7-ED58-3A262469D369}"/>
          </ac:graphicFrameMkLst>
        </pc:graphicFrameChg>
        <pc:graphicFrameChg chg="mod modGraphic">
          <ac:chgData name="Magali Aurand" userId="8e613f04-88c6-478f-a50c-6543fd88c657" providerId="ADAL" clId="{C3295FBD-69E7-4C19-87B1-56C8457354BA}" dt="2025-04-09T13:53:59.622" v="72048" actId="1035"/>
          <ac:graphicFrameMkLst>
            <pc:docMk/>
            <pc:sldMk cId="1200353829" sldId="2147376650"/>
            <ac:graphicFrameMk id="9" creationId="{FD030C7A-C617-B78D-45B9-2FCB642F1632}"/>
          </ac:graphicFrameMkLst>
        </pc:graphicFrameChg>
        <pc:graphicFrameChg chg="mod modGraphic">
          <ac:chgData name="Magali Aurand" userId="8e613f04-88c6-478f-a50c-6543fd88c657" providerId="ADAL" clId="{C3295FBD-69E7-4C19-87B1-56C8457354BA}" dt="2025-04-09T13:53:59.622" v="72048" actId="1035"/>
          <ac:graphicFrameMkLst>
            <pc:docMk/>
            <pc:sldMk cId="1200353829" sldId="2147376650"/>
            <ac:graphicFrameMk id="10" creationId="{BFEDF1B4-5000-33C4-DFBE-0609C20271F7}"/>
          </ac:graphicFrameMkLst>
        </pc:graphicFrameChg>
        <pc:graphicFrameChg chg="mod modGraphic">
          <ac:chgData name="Magali Aurand" userId="8e613f04-88c6-478f-a50c-6543fd88c657" providerId="ADAL" clId="{C3295FBD-69E7-4C19-87B1-56C8457354BA}" dt="2025-04-09T13:53:59.622" v="72048" actId="1035"/>
          <ac:graphicFrameMkLst>
            <pc:docMk/>
            <pc:sldMk cId="1200353829" sldId="2147376650"/>
            <ac:graphicFrameMk id="11" creationId="{6BFE0656-F6B8-24A0-FED6-ED5B865BB4C8}"/>
          </ac:graphicFrameMkLst>
        </pc:graphicFrameChg>
        <pc:graphicFrameChg chg="mod modGraphic">
          <ac:chgData name="Magali Aurand" userId="8e613f04-88c6-478f-a50c-6543fd88c657" providerId="ADAL" clId="{C3295FBD-69E7-4C19-87B1-56C8457354BA}" dt="2025-04-09T13:53:59.622" v="72048" actId="1035"/>
          <ac:graphicFrameMkLst>
            <pc:docMk/>
            <pc:sldMk cId="1200353829" sldId="2147376650"/>
            <ac:graphicFrameMk id="12" creationId="{CD034502-ED68-2492-785F-7F1FBE1F5240}"/>
          </ac:graphicFrameMkLst>
        </pc:graphicFrameChg>
        <pc:picChg chg="mod">
          <ac:chgData name="Magali Aurand" userId="8e613f04-88c6-478f-a50c-6543fd88c657" providerId="ADAL" clId="{C3295FBD-69E7-4C19-87B1-56C8457354BA}" dt="2025-03-17T18:11:24.298" v="48499" actId="27349"/>
          <ac:picMkLst>
            <pc:docMk/>
            <pc:sldMk cId="1200353829" sldId="2147376650"/>
            <ac:picMk id="14" creationId="{D089A1D6-C323-60EA-7062-BBE06DA671B2}"/>
          </ac:picMkLst>
        </pc:picChg>
        <pc:picChg chg="mod">
          <ac:chgData name="Magali Aurand" userId="8e613f04-88c6-478f-a50c-6543fd88c657" providerId="ADAL" clId="{C3295FBD-69E7-4C19-87B1-56C8457354BA}" dt="2025-04-09T13:53:48.248" v="72035" actId="207"/>
          <ac:picMkLst>
            <pc:docMk/>
            <pc:sldMk cId="1200353829" sldId="2147376650"/>
            <ac:picMk id="15" creationId="{32AFF90B-DE08-A577-17F8-FFF3B445FF4E}"/>
          </ac:picMkLst>
        </pc:picChg>
        <pc:picChg chg="add mod">
          <ac:chgData name="Magali Aurand" userId="8e613f04-88c6-478f-a50c-6543fd88c657" providerId="ADAL" clId="{C3295FBD-69E7-4C19-87B1-56C8457354BA}" dt="2025-04-09T13:53:59.622" v="72048" actId="1035"/>
          <ac:picMkLst>
            <pc:docMk/>
            <pc:sldMk cId="1200353829" sldId="2147376650"/>
            <ac:picMk id="12290" creationId="{B0D7B9F6-DB2B-DB0D-BA2A-452353D6F0CA}"/>
          </ac:picMkLst>
        </pc:picChg>
      </pc:sldChg>
      <pc:sldChg chg="addSp delSp modSp new mod">
        <pc:chgData name="Magali Aurand" userId="8e613f04-88c6-478f-a50c-6543fd88c657" providerId="ADAL" clId="{C3295FBD-69E7-4C19-87B1-56C8457354BA}" dt="2025-04-09T13:54:13.295" v="72050" actId="207"/>
        <pc:sldMkLst>
          <pc:docMk/>
          <pc:sldMk cId="1004614796" sldId="2147376651"/>
        </pc:sldMkLst>
        <pc:spChg chg="mod">
          <ac:chgData name="Magali Aurand" userId="8e613f04-88c6-478f-a50c-6543fd88c657" providerId="ADAL" clId="{C3295FBD-69E7-4C19-87B1-56C8457354BA}" dt="2025-03-17T18:29:14.227" v="49286" actId="948"/>
          <ac:spMkLst>
            <pc:docMk/>
            <pc:sldMk cId="1004614796" sldId="2147376651"/>
            <ac:spMk id="2" creationId="{77A64B7D-9B2E-31C6-8634-BC5BBC0E2CD5}"/>
          </ac:spMkLst>
        </pc:spChg>
        <pc:spChg chg="add mod">
          <ac:chgData name="Magali Aurand" userId="8e613f04-88c6-478f-a50c-6543fd88c657" providerId="ADAL" clId="{C3295FBD-69E7-4C19-87B1-56C8457354BA}" dt="2025-04-09T13:54:08.945" v="72049"/>
          <ac:spMkLst>
            <pc:docMk/>
            <pc:sldMk cId="1004614796" sldId="2147376651"/>
            <ac:spMk id="4" creationId="{D0A642E2-C6E4-3F8B-9458-37ABC87819F4}"/>
          </ac:spMkLst>
        </pc:spChg>
        <pc:spChg chg="add mod">
          <ac:chgData name="Magali Aurand" userId="8e613f04-88c6-478f-a50c-6543fd88c657" providerId="ADAL" clId="{C3295FBD-69E7-4C19-87B1-56C8457354BA}" dt="2025-03-18T15:03:28.131" v="51786" actId="1036"/>
          <ac:spMkLst>
            <pc:docMk/>
            <pc:sldMk cId="1004614796" sldId="2147376651"/>
            <ac:spMk id="16" creationId="{F3EBFDBB-FDCC-DF9C-0C09-8D5B5C6CFFC7}"/>
          </ac:spMkLst>
        </pc:spChg>
        <pc:spChg chg="add mod">
          <ac:chgData name="Magali Aurand" userId="8e613f04-88c6-478f-a50c-6543fd88c657" providerId="ADAL" clId="{C3295FBD-69E7-4C19-87B1-56C8457354BA}" dt="2025-03-17T18:34:55.896" v="49466" actId="1076"/>
          <ac:spMkLst>
            <pc:docMk/>
            <pc:sldMk cId="1004614796" sldId="2147376651"/>
            <ac:spMk id="18" creationId="{25CBFFF2-C91D-A627-0A96-C411C970FF1B}"/>
          </ac:spMkLst>
        </pc:spChg>
        <pc:spChg chg="add mod">
          <ac:chgData name="Magali Aurand" userId="8e613f04-88c6-478f-a50c-6543fd88c657" providerId="ADAL" clId="{C3295FBD-69E7-4C19-87B1-56C8457354BA}" dt="2025-03-17T18:35:15.949" v="49500" actId="20577"/>
          <ac:spMkLst>
            <pc:docMk/>
            <pc:sldMk cId="1004614796" sldId="2147376651"/>
            <ac:spMk id="19" creationId="{D0EF8BBE-A14E-3405-FD7D-C5D3F7CF6A60}"/>
          </ac:spMkLst>
        </pc:spChg>
        <pc:graphicFrameChg chg="add mod ord modVis">
          <ac:chgData name="Magali Aurand" userId="8e613f04-88c6-478f-a50c-6543fd88c657" providerId="ADAL" clId="{C3295FBD-69E7-4C19-87B1-56C8457354BA}" dt="2025-03-17T18:29:14.250" v="49310"/>
          <ac:graphicFrameMkLst>
            <pc:docMk/>
            <pc:sldMk cId="1004614796" sldId="2147376651"/>
            <ac:graphicFrameMk id="6" creationId="{F3CA8696-78D8-3602-9574-722550946D81}"/>
          </ac:graphicFrameMkLst>
        </pc:graphicFrameChg>
        <pc:picChg chg="add mod">
          <ac:chgData name="Magali Aurand" userId="8e613f04-88c6-478f-a50c-6543fd88c657" providerId="ADAL" clId="{C3295FBD-69E7-4C19-87B1-56C8457354BA}" dt="2025-03-27T14:34:00.879" v="54652"/>
          <ac:picMkLst>
            <pc:docMk/>
            <pc:sldMk cId="1004614796" sldId="2147376651"/>
            <ac:picMk id="3" creationId="{22CDF2D8-3406-EA0A-3AC6-BB505AA4793E}"/>
          </ac:picMkLst>
        </pc:picChg>
        <pc:picChg chg="add mod">
          <ac:chgData name="Magali Aurand" userId="8e613f04-88c6-478f-a50c-6543fd88c657" providerId="ADAL" clId="{C3295FBD-69E7-4C19-87B1-56C8457354BA}" dt="2025-04-09T13:54:13.295" v="72050" actId="207"/>
          <ac:picMkLst>
            <pc:docMk/>
            <pc:sldMk cId="1004614796" sldId="2147376651"/>
            <ac:picMk id="5" creationId="{8D0E7A96-7945-3050-FC11-7F642FCA1F77}"/>
          </ac:picMkLst>
        </pc:picChg>
        <pc:picChg chg="add mod">
          <ac:chgData name="Magali Aurand" userId="8e613f04-88c6-478f-a50c-6543fd88c657" providerId="ADAL" clId="{C3295FBD-69E7-4C19-87B1-56C8457354BA}" dt="2025-03-27T14:34:00.879" v="54652"/>
          <ac:picMkLst>
            <pc:docMk/>
            <pc:sldMk cId="1004614796" sldId="2147376651"/>
            <ac:picMk id="7" creationId="{3120C63C-7CA9-1860-FDE8-8444F6D5EBA1}"/>
          </ac:picMkLst>
        </pc:picChg>
        <pc:picChg chg="add mod">
          <ac:chgData name="Magali Aurand" userId="8e613f04-88c6-478f-a50c-6543fd88c657" providerId="ADAL" clId="{C3295FBD-69E7-4C19-87B1-56C8457354BA}" dt="2025-03-17T18:33:26.001" v="49410" actId="14100"/>
          <ac:picMkLst>
            <pc:docMk/>
            <pc:sldMk cId="1004614796" sldId="2147376651"/>
            <ac:picMk id="10" creationId="{DD9DEBEC-617B-13B7-AC9D-E9F526189F5F}"/>
          </ac:picMkLst>
        </pc:picChg>
        <pc:picChg chg="add mod modCrop">
          <ac:chgData name="Magali Aurand" userId="8e613f04-88c6-478f-a50c-6543fd88c657" providerId="ADAL" clId="{C3295FBD-69E7-4C19-87B1-56C8457354BA}" dt="2025-03-18T15:03:34.087" v="51793" actId="1035"/>
          <ac:picMkLst>
            <pc:docMk/>
            <pc:sldMk cId="1004614796" sldId="2147376651"/>
            <ac:picMk id="12" creationId="{09E72852-B522-A292-859B-36B8A0E52652}"/>
          </ac:picMkLst>
        </pc:picChg>
        <pc:picChg chg="add mod modCrop">
          <ac:chgData name="Magali Aurand" userId="8e613f04-88c6-478f-a50c-6543fd88c657" providerId="ADAL" clId="{C3295FBD-69E7-4C19-87B1-56C8457354BA}" dt="2025-03-18T15:03:28.131" v="51786" actId="1036"/>
          <ac:picMkLst>
            <pc:docMk/>
            <pc:sldMk cId="1004614796" sldId="2147376651"/>
            <ac:picMk id="14" creationId="{2C3F0E71-6D9A-BD98-6FCE-1BD24A02C8B5}"/>
          </ac:picMkLst>
        </pc:picChg>
      </pc:sldChg>
      <pc:sldChg chg="new del">
        <pc:chgData name="Magali Aurand" userId="8e613f04-88c6-478f-a50c-6543fd88c657" providerId="ADAL" clId="{C3295FBD-69E7-4C19-87B1-56C8457354BA}" dt="2025-03-17T18:28:57.104" v="49190" actId="680"/>
        <pc:sldMkLst>
          <pc:docMk/>
          <pc:sldMk cId="2388256609" sldId="2147376651"/>
        </pc:sldMkLst>
      </pc:sldChg>
      <pc:sldChg chg="addSp delSp modSp add mod modCm modNotesTx">
        <pc:chgData name="Magali Aurand" userId="8e613f04-88c6-478f-a50c-6543fd88c657" providerId="ADAL" clId="{C3295FBD-69E7-4C19-87B1-56C8457354BA}" dt="2025-04-09T13:54:23.643" v="72052" actId="207"/>
        <pc:sldMkLst>
          <pc:docMk/>
          <pc:sldMk cId="3504671546" sldId="2147376652"/>
        </pc:sldMkLst>
        <pc:spChg chg="mod">
          <ac:chgData name="Magali Aurand" userId="8e613f04-88c6-478f-a50c-6543fd88c657" providerId="ADAL" clId="{C3295FBD-69E7-4C19-87B1-56C8457354BA}" dt="2025-03-18T13:50:46.250" v="49863" actId="948"/>
          <ac:spMkLst>
            <pc:docMk/>
            <pc:sldMk cId="3504671546" sldId="2147376652"/>
            <ac:spMk id="2" creationId="{ACF614BF-A483-E4C6-7661-CBE0AFD1F20D}"/>
          </ac:spMkLst>
        </pc:spChg>
        <pc:spChg chg="add mod">
          <ac:chgData name="Magali Aurand" userId="8e613f04-88c6-478f-a50c-6543fd88c657" providerId="ADAL" clId="{C3295FBD-69E7-4C19-87B1-56C8457354BA}" dt="2025-04-09T13:54:15.633" v="72051"/>
          <ac:spMkLst>
            <pc:docMk/>
            <pc:sldMk cId="3504671546" sldId="2147376652"/>
            <ac:spMk id="3" creationId="{79D36814-8CCC-6FEB-E8ED-4B0C0C8A1E5F}"/>
          </ac:spMkLst>
        </pc:spChg>
        <pc:graphicFrameChg chg="mod">
          <ac:chgData name="Magali Aurand" userId="8e613f04-88c6-478f-a50c-6543fd88c657" providerId="ADAL" clId="{C3295FBD-69E7-4C19-87B1-56C8457354BA}" dt="2025-03-18T13:50:46.264" v="49879"/>
          <ac:graphicFrameMkLst>
            <pc:docMk/>
            <pc:sldMk cId="3504671546" sldId="2147376652"/>
            <ac:graphicFrameMk id="5" creationId="{6CAF3CFA-8A90-49F7-ED58-3A262469D369}"/>
          </ac:graphicFrameMkLst>
        </pc:graphicFrameChg>
        <pc:graphicFrameChg chg="mod modGraphic">
          <ac:chgData name="Magali Aurand" userId="8e613f04-88c6-478f-a50c-6543fd88c657" providerId="ADAL" clId="{C3295FBD-69E7-4C19-87B1-56C8457354BA}" dt="2025-03-18T14:31:51.974" v="51756" actId="14100"/>
          <ac:graphicFrameMkLst>
            <pc:docMk/>
            <pc:sldMk cId="3504671546" sldId="2147376652"/>
            <ac:graphicFrameMk id="9" creationId="{FD030C7A-C617-B78D-45B9-2FCB642F1632}"/>
          </ac:graphicFrameMkLst>
        </pc:graphicFrameChg>
        <pc:graphicFrameChg chg="mod modGraphic">
          <ac:chgData name="Magali Aurand" userId="8e613f04-88c6-478f-a50c-6543fd88c657" providerId="ADAL" clId="{C3295FBD-69E7-4C19-87B1-56C8457354BA}" dt="2025-03-18T14:31:41.696" v="51752" actId="1035"/>
          <ac:graphicFrameMkLst>
            <pc:docMk/>
            <pc:sldMk cId="3504671546" sldId="2147376652"/>
            <ac:graphicFrameMk id="10" creationId="{BFEDF1B4-5000-33C4-DFBE-0609C20271F7}"/>
          </ac:graphicFrameMkLst>
        </pc:graphicFrameChg>
        <pc:graphicFrameChg chg="mod modGraphic">
          <ac:chgData name="Magali Aurand" userId="8e613f04-88c6-478f-a50c-6543fd88c657" providerId="ADAL" clId="{C3295FBD-69E7-4C19-87B1-56C8457354BA}" dt="2025-03-18T14:25:22.640" v="51743" actId="113"/>
          <ac:graphicFrameMkLst>
            <pc:docMk/>
            <pc:sldMk cId="3504671546" sldId="2147376652"/>
            <ac:graphicFrameMk id="11" creationId="{6BFE0656-F6B8-24A0-FED6-ED5B865BB4C8}"/>
          </ac:graphicFrameMkLst>
        </pc:graphicFrameChg>
        <pc:graphicFrameChg chg="mod modGraphic">
          <ac:chgData name="Magali Aurand" userId="8e613f04-88c6-478f-a50c-6543fd88c657" providerId="ADAL" clId="{C3295FBD-69E7-4C19-87B1-56C8457354BA}" dt="2025-03-18T14:32:08.744" v="51762" actId="14100"/>
          <ac:graphicFrameMkLst>
            <pc:docMk/>
            <pc:sldMk cId="3504671546" sldId="2147376652"/>
            <ac:graphicFrameMk id="12" creationId="{CD034502-ED68-2492-785F-7F1FBE1F5240}"/>
          </ac:graphicFrameMkLst>
        </pc:graphicFrameChg>
        <pc:picChg chg="mod">
          <ac:chgData name="Magali Aurand" userId="8e613f04-88c6-478f-a50c-6543fd88c657" providerId="ADAL" clId="{C3295FBD-69E7-4C19-87B1-56C8457354BA}" dt="2025-03-18T15:06:12.674" v="51795" actId="27349"/>
          <ac:picMkLst>
            <pc:docMk/>
            <pc:sldMk cId="3504671546" sldId="2147376652"/>
            <ac:picMk id="14" creationId="{D089A1D6-C323-60EA-7062-BBE06DA671B2}"/>
          </ac:picMkLst>
        </pc:picChg>
        <pc:picChg chg="mod">
          <ac:chgData name="Magali Aurand" userId="8e613f04-88c6-478f-a50c-6543fd88c657" providerId="ADAL" clId="{C3295FBD-69E7-4C19-87B1-56C8457354BA}" dt="2025-04-09T13:54:23.643" v="72052" actId="207"/>
          <ac:picMkLst>
            <pc:docMk/>
            <pc:sldMk cId="3504671546" sldId="2147376652"/>
            <ac:picMk id="15" creationId="{32AFF90B-DE08-A577-17F8-FFF3B445FF4E}"/>
          </ac:picMkLst>
        </pc:picChg>
        <pc:picChg chg="mod">
          <ac:chgData name="Magali Aurand" userId="8e613f04-88c6-478f-a50c-6543fd88c657" providerId="ADAL" clId="{C3295FBD-69E7-4C19-87B1-56C8457354BA}" dt="2025-03-18T13:58:58.493" v="50643" actId="1076"/>
          <ac:picMkLst>
            <pc:docMk/>
            <pc:sldMk cId="3504671546" sldId="2147376652"/>
            <ac:picMk id="11268" creationId="{BDB87ACE-4B0C-BF66-6577-614A87A4A727}"/>
          </ac:picMkLst>
        </pc:picChg>
        <pc:picChg chg="add mod">
          <ac:chgData name="Magali Aurand" userId="8e613f04-88c6-478f-a50c-6543fd88c657" providerId="ADAL" clId="{C3295FBD-69E7-4C19-87B1-56C8457354BA}" dt="2025-03-18T13:58:56.364" v="50642" actId="1076"/>
          <ac:picMkLst>
            <pc:docMk/>
            <pc:sldMk cId="3504671546" sldId="2147376652"/>
            <ac:picMk id="14342" creationId="{7F281E64-565B-00E2-201A-A3125814F752}"/>
          </ac:picMkLst>
        </pc:picChg>
        <pc:picChg chg="add mod">
          <ac:chgData name="Magali Aurand" userId="8e613f04-88c6-478f-a50c-6543fd88c657" providerId="ADAL" clId="{C3295FBD-69E7-4C19-87B1-56C8457354BA}" dt="2025-03-18T13:59:01.617" v="50644" actId="1076"/>
          <ac:picMkLst>
            <pc:docMk/>
            <pc:sldMk cId="3504671546" sldId="2147376652"/>
            <ac:picMk id="14344" creationId="{99DE8042-92BA-79C7-AC8A-1960C949EAC7}"/>
          </ac:picMkLst>
        </pc:picChg>
        <pc:extLst>
          <p:ext xmlns:p="http://schemas.openxmlformats.org/presentationml/2006/main" uri="{D6D511B9-2390-475A-947B-AFAB55BFBCF1}">
            <pc226:cmChg xmlns:pc226="http://schemas.microsoft.com/office/powerpoint/2022/06/main/command" chg="mod">
              <pc226:chgData name="Magali Aurand" userId="8e613f04-88c6-478f-a50c-6543fd88c657" providerId="ADAL" clId="{C3295FBD-69E7-4C19-87B1-56C8457354BA}" dt="2025-03-18T13:50:46.247" v="49862" actId="20577"/>
              <pc2:cmMkLst xmlns:pc2="http://schemas.microsoft.com/office/powerpoint/2019/9/main/command">
                <pc:docMk/>
                <pc:sldMk cId="3504671546" sldId="2147376652"/>
                <pc2:cmMk id="{C840CA51-490E-4B7C-85A3-0AEEA58BC0B7}"/>
              </pc2:cmMkLst>
            </pc226:cmChg>
          </p:ext>
        </pc:extLst>
      </pc:sldChg>
      <pc:sldChg chg="addSp delSp modSp add mod">
        <pc:chgData name="Magali Aurand" userId="8e613f04-88c6-478f-a50c-6543fd88c657" providerId="ADAL" clId="{C3295FBD-69E7-4C19-87B1-56C8457354BA}" dt="2025-04-09T13:54:31.140" v="72054" actId="207"/>
        <pc:sldMkLst>
          <pc:docMk/>
          <pc:sldMk cId="2506507210" sldId="2147376653"/>
        </pc:sldMkLst>
        <pc:spChg chg="mod">
          <ac:chgData name="Magali Aurand" userId="8e613f04-88c6-478f-a50c-6543fd88c657" providerId="ADAL" clId="{C3295FBD-69E7-4C19-87B1-56C8457354BA}" dt="2025-03-27T14:22:10.522" v="54405" actId="948"/>
          <ac:spMkLst>
            <pc:docMk/>
            <pc:sldMk cId="2506507210" sldId="2147376653"/>
            <ac:spMk id="2" creationId="{ACF614BF-A483-E4C6-7661-CBE0AFD1F20D}"/>
          </ac:spMkLst>
        </pc:spChg>
        <pc:spChg chg="add mod">
          <ac:chgData name="Magali Aurand" userId="8e613f04-88c6-478f-a50c-6543fd88c657" providerId="ADAL" clId="{C3295FBD-69E7-4C19-87B1-56C8457354BA}" dt="2025-04-09T13:54:26.145" v="72053"/>
          <ac:spMkLst>
            <pc:docMk/>
            <pc:sldMk cId="2506507210" sldId="2147376653"/>
            <ac:spMk id="3" creationId="{E22227F0-E944-E70E-DE76-06727EFB6BB1}"/>
          </ac:spMkLst>
        </pc:spChg>
        <pc:graphicFrameChg chg="mod">
          <ac:chgData name="Magali Aurand" userId="8e613f04-88c6-478f-a50c-6543fd88c657" providerId="ADAL" clId="{C3295FBD-69E7-4C19-87B1-56C8457354BA}" dt="2025-03-27T14:22:10.540" v="54429"/>
          <ac:graphicFrameMkLst>
            <pc:docMk/>
            <pc:sldMk cId="2506507210" sldId="2147376653"/>
            <ac:graphicFrameMk id="5" creationId="{6CAF3CFA-8A90-49F7-ED58-3A262469D369}"/>
          </ac:graphicFrameMkLst>
        </pc:graphicFrameChg>
        <pc:graphicFrameChg chg="mod modGraphic">
          <ac:chgData name="Magali Aurand" userId="8e613f04-88c6-478f-a50c-6543fd88c657" providerId="ADAL" clId="{C3295FBD-69E7-4C19-87B1-56C8457354BA}" dt="2025-04-01T15:21:51.901" v="55821" actId="20577"/>
          <ac:graphicFrameMkLst>
            <pc:docMk/>
            <pc:sldMk cId="2506507210" sldId="2147376653"/>
            <ac:graphicFrameMk id="9" creationId="{FD030C7A-C617-B78D-45B9-2FCB642F1632}"/>
          </ac:graphicFrameMkLst>
        </pc:graphicFrameChg>
        <pc:graphicFrameChg chg="mod modGraphic">
          <ac:chgData name="Magali Aurand" userId="8e613f04-88c6-478f-a50c-6543fd88c657" providerId="ADAL" clId="{C3295FBD-69E7-4C19-87B1-56C8457354BA}" dt="2025-04-01T15:22:12.139" v="55823"/>
          <ac:graphicFrameMkLst>
            <pc:docMk/>
            <pc:sldMk cId="2506507210" sldId="2147376653"/>
            <ac:graphicFrameMk id="10" creationId="{BFEDF1B4-5000-33C4-DFBE-0609C20271F7}"/>
          </ac:graphicFrameMkLst>
        </pc:graphicFrameChg>
        <pc:graphicFrameChg chg="mod modGraphic">
          <ac:chgData name="Magali Aurand" userId="8e613f04-88c6-478f-a50c-6543fd88c657" providerId="ADAL" clId="{C3295FBD-69E7-4C19-87B1-56C8457354BA}" dt="2025-03-18T17:47:50.647" v="54191" actId="20577"/>
          <ac:graphicFrameMkLst>
            <pc:docMk/>
            <pc:sldMk cId="2506507210" sldId="2147376653"/>
            <ac:graphicFrameMk id="11" creationId="{6BFE0656-F6B8-24A0-FED6-ED5B865BB4C8}"/>
          </ac:graphicFrameMkLst>
        </pc:graphicFrameChg>
        <pc:graphicFrameChg chg="mod modGraphic">
          <ac:chgData name="Magali Aurand" userId="8e613f04-88c6-478f-a50c-6543fd88c657" providerId="ADAL" clId="{C3295FBD-69E7-4C19-87B1-56C8457354BA}" dt="2025-03-18T17:33:16.959" v="53771" actId="20577"/>
          <ac:graphicFrameMkLst>
            <pc:docMk/>
            <pc:sldMk cId="2506507210" sldId="2147376653"/>
            <ac:graphicFrameMk id="12" creationId="{CD034502-ED68-2492-785F-7F1FBE1F5240}"/>
          </ac:graphicFrameMkLst>
        </pc:graphicFrameChg>
        <pc:picChg chg="mod">
          <ac:chgData name="Magali Aurand" userId="8e613f04-88c6-478f-a50c-6543fd88c657" providerId="ADAL" clId="{C3295FBD-69E7-4C19-87B1-56C8457354BA}" dt="2025-04-09T13:54:31.140" v="72054" actId="207"/>
          <ac:picMkLst>
            <pc:docMk/>
            <pc:sldMk cId="2506507210" sldId="2147376653"/>
            <ac:picMk id="14" creationId="{D089A1D6-C323-60EA-7062-BBE06DA671B2}"/>
          </ac:picMkLst>
        </pc:picChg>
        <pc:picChg chg="mod">
          <ac:chgData name="Magali Aurand" userId="8e613f04-88c6-478f-a50c-6543fd88c657" providerId="ADAL" clId="{C3295FBD-69E7-4C19-87B1-56C8457354BA}" dt="2025-03-18T15:35:26.725" v="53250" actId="27349"/>
          <ac:picMkLst>
            <pc:docMk/>
            <pc:sldMk cId="2506507210" sldId="2147376653"/>
            <ac:picMk id="15" creationId="{32AFF90B-DE08-A577-17F8-FFF3B445FF4E}"/>
          </ac:picMkLst>
        </pc:picChg>
      </pc:sldChg>
      <pc:sldChg chg="addSp delSp modSp new mod modClrScheme chgLayout">
        <pc:chgData name="Magali Aurand" userId="8e613f04-88c6-478f-a50c-6543fd88c657" providerId="ADAL" clId="{C3295FBD-69E7-4C19-87B1-56C8457354BA}" dt="2025-04-09T13:54:38.645" v="72056" actId="207"/>
        <pc:sldMkLst>
          <pc:docMk/>
          <pc:sldMk cId="1169560357" sldId="2147376654"/>
        </pc:sldMkLst>
        <pc:spChg chg="add mod">
          <ac:chgData name="Magali Aurand" userId="8e613f04-88c6-478f-a50c-6543fd88c657" providerId="ADAL" clId="{C3295FBD-69E7-4C19-87B1-56C8457354BA}" dt="2025-03-27T14:22:18.112" v="54470" actId="948"/>
          <ac:spMkLst>
            <pc:docMk/>
            <pc:sldMk cId="1169560357" sldId="2147376654"/>
            <ac:spMk id="2" creationId="{00165249-D023-8D5C-F8BA-DD83AADD9B45}"/>
          </ac:spMkLst>
        </pc:spChg>
        <pc:spChg chg="add mod">
          <ac:chgData name="Magali Aurand" userId="8e613f04-88c6-478f-a50c-6543fd88c657" providerId="ADAL" clId="{C3295FBD-69E7-4C19-87B1-56C8457354BA}" dt="2025-04-09T13:54:33.927" v="72055"/>
          <ac:spMkLst>
            <pc:docMk/>
            <pc:sldMk cId="1169560357" sldId="2147376654"/>
            <ac:spMk id="3" creationId="{965A9602-C272-B62C-79AB-7F18F5903A3C}"/>
          </ac:spMkLst>
        </pc:spChg>
        <pc:spChg chg="add mod">
          <ac:chgData name="Magali Aurand" userId="8e613f04-88c6-478f-a50c-6543fd88c657" providerId="ADAL" clId="{C3295FBD-69E7-4C19-87B1-56C8457354BA}" dt="2025-03-27T14:24:20.934" v="54498" actId="14100"/>
          <ac:spMkLst>
            <pc:docMk/>
            <pc:sldMk cId="1169560357" sldId="2147376654"/>
            <ac:spMk id="6" creationId="{5619CFF9-45AF-5B24-D33B-80A27A1DAA97}"/>
          </ac:spMkLst>
        </pc:spChg>
        <pc:spChg chg="add mod">
          <ac:chgData name="Magali Aurand" userId="8e613f04-88c6-478f-a50c-6543fd88c657" providerId="ADAL" clId="{C3295FBD-69E7-4C19-87B1-56C8457354BA}" dt="2025-03-27T14:31:15.085" v="54555" actId="14100"/>
          <ac:spMkLst>
            <pc:docMk/>
            <pc:sldMk cId="1169560357" sldId="2147376654"/>
            <ac:spMk id="14" creationId="{CD4723A3-A1B8-8E26-9890-1EC6FD4095BC}"/>
          </ac:spMkLst>
        </pc:spChg>
        <pc:graphicFrameChg chg="add mod ord modVis">
          <ac:chgData name="Magali Aurand" userId="8e613f04-88c6-478f-a50c-6543fd88c657" providerId="ADAL" clId="{C3295FBD-69E7-4C19-87B1-56C8457354BA}" dt="2025-03-27T14:22:18.129" v="54494"/>
          <ac:graphicFrameMkLst>
            <pc:docMk/>
            <pc:sldMk cId="1169560357" sldId="2147376654"/>
            <ac:graphicFrameMk id="7" creationId="{35A2CA8C-9A91-A355-E0C1-E3E7CE6AA796}"/>
          </ac:graphicFrameMkLst>
        </pc:graphicFrameChg>
        <pc:picChg chg="add mod">
          <ac:chgData name="Magali Aurand" userId="8e613f04-88c6-478f-a50c-6543fd88c657" providerId="ADAL" clId="{C3295FBD-69E7-4C19-87B1-56C8457354BA}" dt="2025-03-18T17:55:04.501" v="54348" actId="1076"/>
          <ac:picMkLst>
            <pc:docMk/>
            <pc:sldMk cId="1169560357" sldId="2147376654"/>
            <ac:picMk id="5" creationId="{49B0A417-2D91-8A14-B9C3-D183BC25F9E4}"/>
          </ac:picMkLst>
        </pc:picChg>
        <pc:picChg chg="add mod modCrop">
          <ac:chgData name="Magali Aurand" userId="8e613f04-88c6-478f-a50c-6543fd88c657" providerId="ADAL" clId="{C3295FBD-69E7-4C19-87B1-56C8457354BA}" dt="2025-03-27T14:31:06.004" v="54553" actId="14100"/>
          <ac:picMkLst>
            <pc:docMk/>
            <pc:sldMk cId="1169560357" sldId="2147376654"/>
            <ac:picMk id="13" creationId="{637E5789-0D07-4E90-CA04-B625B0F910F9}"/>
          </ac:picMkLst>
        </pc:picChg>
        <pc:picChg chg="add mod">
          <ac:chgData name="Magali Aurand" userId="8e613f04-88c6-478f-a50c-6543fd88c657" providerId="ADAL" clId="{C3295FBD-69E7-4C19-87B1-56C8457354BA}" dt="2025-04-09T13:54:38.645" v="72056" actId="207"/>
          <ac:picMkLst>
            <pc:docMk/>
            <pc:sldMk cId="1169560357" sldId="2147376654"/>
            <ac:picMk id="18" creationId="{CED47719-D59F-09C1-3CDD-2363731089C0}"/>
          </ac:picMkLst>
        </pc:picChg>
        <pc:picChg chg="add mod">
          <ac:chgData name="Magali Aurand" userId="8e613f04-88c6-478f-a50c-6543fd88c657" providerId="ADAL" clId="{C3295FBD-69E7-4C19-87B1-56C8457354BA}" dt="2025-03-27T14:34:31.720" v="54656"/>
          <ac:picMkLst>
            <pc:docMk/>
            <pc:sldMk cId="1169560357" sldId="2147376654"/>
            <ac:picMk id="19" creationId="{C28DC62B-921A-E170-4CEB-002A8B9FAD9F}"/>
          </ac:picMkLst>
        </pc:picChg>
        <pc:picChg chg="add mod">
          <ac:chgData name="Magali Aurand" userId="8e613f04-88c6-478f-a50c-6543fd88c657" providerId="ADAL" clId="{C3295FBD-69E7-4C19-87B1-56C8457354BA}" dt="2025-03-27T14:34:31.720" v="54656"/>
          <ac:picMkLst>
            <pc:docMk/>
            <pc:sldMk cId="1169560357" sldId="2147376654"/>
            <ac:picMk id="20" creationId="{A462E3C2-B72E-531B-C9A0-2CFCFFCB2A20}"/>
          </ac:picMkLst>
        </pc:picChg>
      </pc:sldChg>
      <pc:sldChg chg="addSp delSp modSp add mod modNotesTx">
        <pc:chgData name="Magali Aurand" userId="8e613f04-88c6-478f-a50c-6543fd88c657" providerId="ADAL" clId="{C3295FBD-69E7-4C19-87B1-56C8457354BA}" dt="2025-04-10T09:01:26.488" v="73758"/>
        <pc:sldMkLst>
          <pc:docMk/>
          <pc:sldMk cId="915769738" sldId="2147376655"/>
        </pc:sldMkLst>
        <pc:spChg chg="mod">
          <ac:chgData name="Magali Aurand" userId="8e613f04-88c6-478f-a50c-6543fd88c657" providerId="ADAL" clId="{C3295FBD-69E7-4C19-87B1-56C8457354BA}" dt="2025-04-09T16:07:07.103" v="73582" actId="948"/>
          <ac:spMkLst>
            <pc:docMk/>
            <pc:sldMk cId="915769738" sldId="2147376655"/>
            <ac:spMk id="2" creationId="{ACF614BF-A483-E4C6-7661-CBE0AFD1F20D}"/>
          </ac:spMkLst>
        </pc:spChg>
        <pc:spChg chg="add mod">
          <ac:chgData name="Magali Aurand" userId="8e613f04-88c6-478f-a50c-6543fd88c657" providerId="ADAL" clId="{C3295FBD-69E7-4C19-87B1-56C8457354BA}" dt="2025-04-09T13:54:41.071" v="72057"/>
          <ac:spMkLst>
            <pc:docMk/>
            <pc:sldMk cId="915769738" sldId="2147376655"/>
            <ac:spMk id="4" creationId="{F6C0B082-69F1-6615-C543-499B20F3FFC9}"/>
          </ac:spMkLst>
        </pc:spChg>
        <pc:spChg chg="add mod">
          <ac:chgData name="Magali Aurand" userId="8e613f04-88c6-478f-a50c-6543fd88c657" providerId="ADAL" clId="{C3295FBD-69E7-4C19-87B1-56C8457354BA}" dt="2025-04-09T16:07:40.177" v="73756" actId="1035"/>
          <ac:spMkLst>
            <pc:docMk/>
            <pc:sldMk cId="915769738" sldId="2147376655"/>
            <ac:spMk id="7" creationId="{D27530B4-E1DF-5FFE-727E-7795DCF8BCC9}"/>
          </ac:spMkLst>
        </pc:spChg>
        <pc:graphicFrameChg chg="mod">
          <ac:chgData name="Magali Aurand" userId="8e613f04-88c6-478f-a50c-6543fd88c657" providerId="ADAL" clId="{C3295FBD-69E7-4C19-87B1-56C8457354BA}" dt="2025-04-09T16:07:07.134" v="73606"/>
          <ac:graphicFrameMkLst>
            <pc:docMk/>
            <pc:sldMk cId="915769738" sldId="2147376655"/>
            <ac:graphicFrameMk id="5" creationId="{6CAF3CFA-8A90-49F7-ED58-3A262469D369}"/>
          </ac:graphicFrameMkLst>
        </pc:graphicFrameChg>
        <pc:graphicFrameChg chg="mod modGraphic">
          <ac:chgData name="Magali Aurand" userId="8e613f04-88c6-478f-a50c-6543fd88c657" providerId="ADAL" clId="{C3295FBD-69E7-4C19-87B1-56C8457354BA}" dt="2025-04-09T16:07:40.177" v="73756" actId="1035"/>
          <ac:graphicFrameMkLst>
            <pc:docMk/>
            <pc:sldMk cId="915769738" sldId="2147376655"/>
            <ac:graphicFrameMk id="9" creationId="{FD030C7A-C617-B78D-45B9-2FCB642F1632}"/>
          </ac:graphicFrameMkLst>
        </pc:graphicFrameChg>
        <pc:graphicFrameChg chg="mod modGraphic">
          <ac:chgData name="Magali Aurand" userId="8e613f04-88c6-478f-a50c-6543fd88c657" providerId="ADAL" clId="{C3295FBD-69E7-4C19-87B1-56C8457354BA}" dt="2025-04-09T16:07:40.177" v="73756" actId="1035"/>
          <ac:graphicFrameMkLst>
            <pc:docMk/>
            <pc:sldMk cId="915769738" sldId="2147376655"/>
            <ac:graphicFrameMk id="10" creationId="{BFEDF1B4-5000-33C4-DFBE-0609C20271F7}"/>
          </ac:graphicFrameMkLst>
        </pc:graphicFrameChg>
        <pc:graphicFrameChg chg="mod modGraphic">
          <ac:chgData name="Magali Aurand" userId="8e613f04-88c6-478f-a50c-6543fd88c657" providerId="ADAL" clId="{C3295FBD-69E7-4C19-87B1-56C8457354BA}" dt="2025-04-09T16:07:40.177" v="73756" actId="1035"/>
          <ac:graphicFrameMkLst>
            <pc:docMk/>
            <pc:sldMk cId="915769738" sldId="2147376655"/>
            <ac:graphicFrameMk id="11" creationId="{6BFE0656-F6B8-24A0-FED6-ED5B865BB4C8}"/>
          </ac:graphicFrameMkLst>
        </pc:graphicFrameChg>
        <pc:graphicFrameChg chg="mod modGraphic">
          <ac:chgData name="Magali Aurand" userId="8e613f04-88c6-478f-a50c-6543fd88c657" providerId="ADAL" clId="{C3295FBD-69E7-4C19-87B1-56C8457354BA}" dt="2025-04-09T16:07:40.177" v="73756" actId="1035"/>
          <ac:graphicFrameMkLst>
            <pc:docMk/>
            <pc:sldMk cId="915769738" sldId="2147376655"/>
            <ac:graphicFrameMk id="12" creationId="{CD034502-ED68-2492-785F-7F1FBE1F5240}"/>
          </ac:graphicFrameMkLst>
        </pc:graphicFrameChg>
        <pc:picChg chg="mod">
          <ac:chgData name="Magali Aurand" userId="8e613f04-88c6-478f-a50c-6543fd88c657" providerId="ADAL" clId="{C3295FBD-69E7-4C19-87B1-56C8457354BA}" dt="2025-04-09T13:54:46.881" v="72058" actId="207"/>
          <ac:picMkLst>
            <pc:docMk/>
            <pc:sldMk cId="915769738" sldId="2147376655"/>
            <ac:picMk id="14" creationId="{D089A1D6-C323-60EA-7062-BBE06DA671B2}"/>
          </ac:picMkLst>
        </pc:picChg>
        <pc:picChg chg="mod">
          <ac:chgData name="Magali Aurand" userId="8e613f04-88c6-478f-a50c-6543fd88c657" providerId="ADAL" clId="{C3295FBD-69E7-4C19-87B1-56C8457354BA}" dt="2025-04-09T13:54:46.881" v="72058" actId="207"/>
          <ac:picMkLst>
            <pc:docMk/>
            <pc:sldMk cId="915769738" sldId="2147376655"/>
            <ac:picMk id="15" creationId="{32AFF90B-DE08-A577-17F8-FFF3B445FF4E}"/>
          </ac:picMkLst>
        </pc:picChg>
        <pc:picChg chg="add mod">
          <ac:chgData name="Magali Aurand" userId="8e613f04-88c6-478f-a50c-6543fd88c657" providerId="ADAL" clId="{C3295FBD-69E7-4C19-87B1-56C8457354BA}" dt="2025-04-09T16:07:40.177" v="73756" actId="1035"/>
          <ac:picMkLst>
            <pc:docMk/>
            <pc:sldMk cId="915769738" sldId="2147376655"/>
            <ac:picMk id="1026" creationId="{FD4CB930-13E3-7F56-83A6-91D389F7C707}"/>
          </ac:picMkLst>
        </pc:picChg>
      </pc:sldChg>
      <pc:sldChg chg="addSp delSp modSp add mod">
        <pc:chgData name="Magali Aurand" userId="8e613f04-88c6-478f-a50c-6543fd88c657" providerId="ADAL" clId="{C3295FBD-69E7-4C19-87B1-56C8457354BA}" dt="2025-04-09T13:55:05.758" v="72062" actId="207"/>
        <pc:sldMkLst>
          <pc:docMk/>
          <pc:sldMk cId="3907543604" sldId="2147376656"/>
        </pc:sldMkLst>
        <pc:spChg chg="mod">
          <ac:chgData name="Magali Aurand" userId="8e613f04-88c6-478f-a50c-6543fd88c657" providerId="ADAL" clId="{C3295FBD-69E7-4C19-87B1-56C8457354BA}" dt="2025-04-08T14:34:39.371" v="67929" actId="948"/>
          <ac:spMkLst>
            <pc:docMk/>
            <pc:sldMk cId="3907543604" sldId="2147376656"/>
            <ac:spMk id="2" creationId="{ACF614BF-A483-E4C6-7661-CBE0AFD1F20D}"/>
          </ac:spMkLst>
        </pc:spChg>
        <pc:spChg chg="add mod">
          <ac:chgData name="Magali Aurand" userId="8e613f04-88c6-478f-a50c-6543fd88c657" providerId="ADAL" clId="{C3295FBD-69E7-4C19-87B1-56C8457354BA}" dt="2025-04-09T13:55:00.396" v="72061"/>
          <ac:spMkLst>
            <pc:docMk/>
            <pc:sldMk cId="3907543604" sldId="2147376656"/>
            <ac:spMk id="3" creationId="{3D165116-02AA-F6DD-4F79-7A77204A7D34}"/>
          </ac:spMkLst>
        </pc:spChg>
        <pc:spChg chg="add mod">
          <ac:chgData name="Magali Aurand" userId="8e613f04-88c6-478f-a50c-6543fd88c657" providerId="ADAL" clId="{C3295FBD-69E7-4C19-87B1-56C8457354BA}" dt="2025-04-08T14:39:03.766" v="68082" actId="1035"/>
          <ac:spMkLst>
            <pc:docMk/>
            <pc:sldMk cId="3907543604" sldId="2147376656"/>
            <ac:spMk id="13" creationId="{A7047628-F157-15CD-E7AC-D09C3DB2806C}"/>
          </ac:spMkLst>
        </pc:spChg>
        <pc:graphicFrameChg chg="mod">
          <ac:chgData name="Magali Aurand" userId="8e613f04-88c6-478f-a50c-6543fd88c657" providerId="ADAL" clId="{C3295FBD-69E7-4C19-87B1-56C8457354BA}" dt="2025-04-08T14:34:39.397" v="67953"/>
          <ac:graphicFrameMkLst>
            <pc:docMk/>
            <pc:sldMk cId="3907543604" sldId="2147376656"/>
            <ac:graphicFrameMk id="5" creationId="{6CAF3CFA-8A90-49F7-ED58-3A262469D369}"/>
          </ac:graphicFrameMkLst>
        </pc:graphicFrameChg>
        <pc:graphicFrameChg chg="mod modGraphic">
          <ac:chgData name="Magali Aurand" userId="8e613f04-88c6-478f-a50c-6543fd88c657" providerId="ADAL" clId="{C3295FBD-69E7-4C19-87B1-56C8457354BA}" dt="2025-04-08T14:47:00.862" v="68289" actId="20577"/>
          <ac:graphicFrameMkLst>
            <pc:docMk/>
            <pc:sldMk cId="3907543604" sldId="2147376656"/>
            <ac:graphicFrameMk id="9" creationId="{FD030C7A-C617-B78D-45B9-2FCB642F1632}"/>
          </ac:graphicFrameMkLst>
        </pc:graphicFrameChg>
        <pc:graphicFrameChg chg="mod modGraphic">
          <ac:chgData name="Magali Aurand" userId="8e613f04-88c6-478f-a50c-6543fd88c657" providerId="ADAL" clId="{C3295FBD-69E7-4C19-87B1-56C8457354BA}" dt="2025-04-08T14:50:50.032" v="68704" actId="6549"/>
          <ac:graphicFrameMkLst>
            <pc:docMk/>
            <pc:sldMk cId="3907543604" sldId="2147376656"/>
            <ac:graphicFrameMk id="10" creationId="{BFEDF1B4-5000-33C4-DFBE-0609C20271F7}"/>
          </ac:graphicFrameMkLst>
        </pc:graphicFrameChg>
        <pc:graphicFrameChg chg="mod modGraphic">
          <ac:chgData name="Magali Aurand" userId="8e613f04-88c6-478f-a50c-6543fd88c657" providerId="ADAL" clId="{C3295FBD-69E7-4C19-87B1-56C8457354BA}" dt="2025-04-08T15:07:42.141" v="69747" actId="14100"/>
          <ac:graphicFrameMkLst>
            <pc:docMk/>
            <pc:sldMk cId="3907543604" sldId="2147376656"/>
            <ac:graphicFrameMk id="11" creationId="{6BFE0656-F6B8-24A0-FED6-ED5B865BB4C8}"/>
          </ac:graphicFrameMkLst>
        </pc:graphicFrameChg>
        <pc:graphicFrameChg chg="mod modGraphic">
          <ac:chgData name="Magali Aurand" userId="8e613f04-88c6-478f-a50c-6543fd88c657" providerId="ADAL" clId="{C3295FBD-69E7-4C19-87B1-56C8457354BA}" dt="2025-04-08T15:07:37.418" v="69746" actId="14100"/>
          <ac:graphicFrameMkLst>
            <pc:docMk/>
            <pc:sldMk cId="3907543604" sldId="2147376656"/>
            <ac:graphicFrameMk id="12" creationId="{CD034502-ED68-2492-785F-7F1FBE1F5240}"/>
          </ac:graphicFrameMkLst>
        </pc:graphicFrameChg>
        <pc:picChg chg="mod">
          <ac:chgData name="Magali Aurand" userId="8e613f04-88c6-478f-a50c-6543fd88c657" providerId="ADAL" clId="{C3295FBD-69E7-4C19-87B1-56C8457354BA}" dt="2025-04-09T13:55:05.758" v="72062" actId="207"/>
          <ac:picMkLst>
            <pc:docMk/>
            <pc:sldMk cId="3907543604" sldId="2147376656"/>
            <ac:picMk id="14" creationId="{D089A1D6-C323-60EA-7062-BBE06DA671B2}"/>
          </ac:picMkLst>
        </pc:picChg>
        <pc:picChg chg="mod">
          <ac:chgData name="Magali Aurand" userId="8e613f04-88c6-478f-a50c-6543fd88c657" providerId="ADAL" clId="{C3295FBD-69E7-4C19-87B1-56C8457354BA}" dt="2025-04-01T15:06:05.259" v="55675" actId="207"/>
          <ac:picMkLst>
            <pc:docMk/>
            <pc:sldMk cId="3907543604" sldId="2147376656"/>
            <ac:picMk id="15" creationId="{32AFF90B-DE08-A577-17F8-FFF3B445FF4E}"/>
          </ac:picMkLst>
        </pc:picChg>
        <pc:picChg chg="add mod">
          <ac:chgData name="Magali Aurand" userId="8e613f04-88c6-478f-a50c-6543fd88c657" providerId="ADAL" clId="{C3295FBD-69E7-4C19-87B1-56C8457354BA}" dt="2025-04-08T14:38:34.889" v="68058" actId="1038"/>
          <ac:picMkLst>
            <pc:docMk/>
            <pc:sldMk cId="3907543604" sldId="2147376656"/>
            <ac:picMk id="2052" creationId="{B6801AAC-FC8B-83A5-CA85-7273404853E1}"/>
          </ac:picMkLst>
        </pc:picChg>
      </pc:sldChg>
      <pc:sldChg chg="addSp delSp modSp add del mod">
        <pc:chgData name="Magali Aurand" userId="8e613f04-88c6-478f-a50c-6543fd88c657" providerId="ADAL" clId="{C3295FBD-69E7-4C19-87B1-56C8457354BA}" dt="2025-04-10T10:04:00.795" v="75479" actId="47"/>
        <pc:sldMkLst>
          <pc:docMk/>
          <pc:sldMk cId="3275196500" sldId="2147376657"/>
        </pc:sldMkLst>
      </pc:sldChg>
      <pc:sldChg chg="addSp delSp modSp add mod">
        <pc:chgData name="Magali Aurand" userId="8e613f04-88c6-478f-a50c-6543fd88c657" providerId="ADAL" clId="{C3295FBD-69E7-4C19-87B1-56C8457354BA}" dt="2025-04-10T10:04:13.066" v="75480" actId="2165"/>
        <pc:sldMkLst>
          <pc:docMk/>
          <pc:sldMk cId="1763547295" sldId="2147376658"/>
        </pc:sldMkLst>
        <pc:spChg chg="mod">
          <ac:chgData name="Magali Aurand" userId="8e613f04-88c6-478f-a50c-6543fd88c657" providerId="ADAL" clId="{C3295FBD-69E7-4C19-87B1-56C8457354BA}" dt="2025-04-08T15:33:28.016" v="71730" actId="948"/>
          <ac:spMkLst>
            <pc:docMk/>
            <pc:sldMk cId="1763547295" sldId="2147376658"/>
            <ac:spMk id="2" creationId="{AF502865-7873-6585-A710-ABF4EFFCB6C7}"/>
          </ac:spMkLst>
        </pc:spChg>
        <pc:graphicFrameChg chg="mod">
          <ac:chgData name="Magali Aurand" userId="8e613f04-88c6-478f-a50c-6543fd88c657" providerId="ADAL" clId="{C3295FBD-69E7-4C19-87B1-56C8457354BA}" dt="2025-04-08T15:33:28.081" v="71754"/>
          <ac:graphicFrameMkLst>
            <pc:docMk/>
            <pc:sldMk cId="1763547295" sldId="2147376658"/>
            <ac:graphicFrameMk id="5" creationId="{E4B3E727-78E5-F824-0A5F-0DC5E6320D12}"/>
          </ac:graphicFrameMkLst>
        </pc:graphicFrameChg>
        <pc:graphicFrameChg chg="mod modGraphic">
          <ac:chgData name="Magali Aurand" userId="8e613f04-88c6-478f-a50c-6543fd88c657" providerId="ADAL" clId="{C3295FBD-69E7-4C19-87B1-56C8457354BA}" dt="2025-04-10T10:04:13.066" v="75480" actId="2165"/>
          <ac:graphicFrameMkLst>
            <pc:docMk/>
            <pc:sldMk cId="1763547295" sldId="2147376658"/>
            <ac:graphicFrameMk id="6" creationId="{82F46EDA-BA4C-F909-E2BE-61942E723BED}"/>
          </ac:graphicFrameMkLst>
        </pc:graphicFrameChg>
      </pc:sldChg>
      <pc:sldChg chg="addSp delSp modSp new mod modClrScheme chgLayout">
        <pc:chgData name="Magali Aurand" userId="8e613f04-88c6-478f-a50c-6543fd88c657" providerId="ADAL" clId="{C3295FBD-69E7-4C19-87B1-56C8457354BA}" dt="2025-04-10T10:04:26.710" v="75482" actId="20577"/>
        <pc:sldMkLst>
          <pc:docMk/>
          <pc:sldMk cId="3741828026" sldId="2147376659"/>
        </pc:sldMkLst>
        <pc:spChg chg="add mod">
          <ac:chgData name="Magali Aurand" userId="8e613f04-88c6-478f-a50c-6543fd88c657" providerId="ADAL" clId="{C3295FBD-69E7-4C19-87B1-56C8457354BA}" dt="2025-04-01T16:29:50.975" v="58138" actId="948"/>
          <ac:spMkLst>
            <pc:docMk/>
            <pc:sldMk cId="3741828026" sldId="2147376659"/>
            <ac:spMk id="2" creationId="{66B24421-F168-2300-4C4E-2736B41B7FC2}"/>
          </ac:spMkLst>
        </pc:spChg>
        <pc:spChg chg="add mod">
          <ac:chgData name="Magali Aurand" userId="8e613f04-88c6-478f-a50c-6543fd88c657" providerId="ADAL" clId="{C3295FBD-69E7-4C19-87B1-56C8457354BA}" dt="2025-04-08T13:29:28.350" v="67846" actId="27636"/>
          <ac:spMkLst>
            <pc:docMk/>
            <pc:sldMk cId="3741828026" sldId="2147376659"/>
            <ac:spMk id="3" creationId="{943CB55F-95F1-2D12-AC66-6BC553690626}"/>
          </ac:spMkLst>
        </pc:spChg>
        <pc:spChg chg="add mod">
          <ac:chgData name="Magali Aurand" userId="8e613f04-88c6-478f-a50c-6543fd88c657" providerId="ADAL" clId="{C3295FBD-69E7-4C19-87B1-56C8457354BA}" dt="2025-04-10T10:04:26.710" v="75482" actId="20577"/>
          <ac:spMkLst>
            <pc:docMk/>
            <pc:sldMk cId="3741828026" sldId="2147376659"/>
            <ac:spMk id="5" creationId="{E4950D11-A331-3411-48C0-7BA73A9B0992}"/>
          </ac:spMkLst>
        </pc:spChg>
        <pc:spChg chg="add mod">
          <ac:chgData name="Magali Aurand" userId="8e613f04-88c6-478f-a50c-6543fd88c657" providerId="ADAL" clId="{C3295FBD-69E7-4C19-87B1-56C8457354BA}" dt="2025-04-08T13:29:39.911" v="67869" actId="1036"/>
          <ac:spMkLst>
            <pc:docMk/>
            <pc:sldMk cId="3741828026" sldId="2147376659"/>
            <ac:spMk id="6" creationId="{2FD31908-6776-6F5F-9BDA-0A4A9D86728F}"/>
          </ac:spMkLst>
        </pc:spChg>
        <pc:spChg chg="add mod">
          <ac:chgData name="Magali Aurand" userId="8e613f04-88c6-478f-a50c-6543fd88c657" providerId="ADAL" clId="{C3295FBD-69E7-4C19-87B1-56C8457354BA}" dt="2025-04-08T13:29:39.911" v="67869" actId="1036"/>
          <ac:spMkLst>
            <pc:docMk/>
            <pc:sldMk cId="3741828026" sldId="2147376659"/>
            <ac:spMk id="7" creationId="{3D727423-4BA4-DEDF-6D3F-388E8D6FB7D5}"/>
          </ac:spMkLst>
        </pc:spChg>
        <pc:spChg chg="add mod">
          <ac:chgData name="Magali Aurand" userId="8e613f04-88c6-478f-a50c-6543fd88c657" providerId="ADAL" clId="{C3295FBD-69E7-4C19-87B1-56C8457354BA}" dt="2025-04-08T13:29:39.911" v="67869" actId="1036"/>
          <ac:spMkLst>
            <pc:docMk/>
            <pc:sldMk cId="3741828026" sldId="2147376659"/>
            <ac:spMk id="8" creationId="{4B785586-647C-D78E-5556-97779A4850BC}"/>
          </ac:spMkLst>
        </pc:spChg>
        <pc:graphicFrameChg chg="add mod ord modVis">
          <ac:chgData name="Magali Aurand" userId="8e613f04-88c6-478f-a50c-6543fd88c657" providerId="ADAL" clId="{C3295FBD-69E7-4C19-87B1-56C8457354BA}" dt="2025-04-01T16:29:51" v="58162"/>
          <ac:graphicFrameMkLst>
            <pc:docMk/>
            <pc:sldMk cId="3741828026" sldId="2147376659"/>
            <ac:graphicFrameMk id="4" creationId="{25519698-E495-6240-D8AB-FE2C105199C6}"/>
          </ac:graphicFrameMkLst>
        </pc:graphicFrameChg>
        <pc:cxnChg chg="add mod">
          <ac:chgData name="Magali Aurand" userId="8e613f04-88c6-478f-a50c-6543fd88c657" providerId="ADAL" clId="{C3295FBD-69E7-4C19-87B1-56C8457354BA}" dt="2025-04-08T13:29:47.394" v="67870" actId="14100"/>
          <ac:cxnSpMkLst>
            <pc:docMk/>
            <pc:sldMk cId="3741828026" sldId="2147376659"/>
            <ac:cxnSpMk id="10" creationId="{99476D09-F47C-2B93-4A95-6C5E324721C8}"/>
          </ac:cxnSpMkLst>
        </pc:cxnChg>
        <pc:cxnChg chg="add mod">
          <ac:chgData name="Magali Aurand" userId="8e613f04-88c6-478f-a50c-6543fd88c657" providerId="ADAL" clId="{C3295FBD-69E7-4C19-87B1-56C8457354BA}" dt="2025-04-08T13:29:49.404" v="67871" actId="14100"/>
          <ac:cxnSpMkLst>
            <pc:docMk/>
            <pc:sldMk cId="3741828026" sldId="2147376659"/>
            <ac:cxnSpMk id="12" creationId="{C31A6DDC-183A-1DA0-190B-775AFDC5B6B4}"/>
          </ac:cxnSpMkLst>
        </pc:cxnChg>
      </pc:sldChg>
      <pc:sldChg chg="addSp delSp modSp add mod">
        <pc:chgData name="Magali Aurand" userId="8e613f04-88c6-478f-a50c-6543fd88c657" providerId="ADAL" clId="{C3295FBD-69E7-4C19-87B1-56C8457354BA}" dt="2025-04-10T10:23:02.831" v="77187" actId="14100"/>
        <pc:sldMkLst>
          <pc:docMk/>
          <pc:sldMk cId="4024581190" sldId="2147376660"/>
        </pc:sldMkLst>
        <pc:spChg chg="mod">
          <ac:chgData name="Magali Aurand" userId="8e613f04-88c6-478f-a50c-6543fd88c657" providerId="ADAL" clId="{C3295FBD-69E7-4C19-87B1-56C8457354BA}" dt="2025-04-02T10:48:14.529" v="59601" actId="948"/>
          <ac:spMkLst>
            <pc:docMk/>
            <pc:sldMk cId="4024581190" sldId="2147376660"/>
            <ac:spMk id="2" creationId="{B5CB3404-6A72-4BDF-5E55-AC7D5579A100}"/>
          </ac:spMkLst>
        </pc:spChg>
        <pc:spChg chg="add mod">
          <ac:chgData name="Magali Aurand" userId="8e613f04-88c6-478f-a50c-6543fd88c657" providerId="ADAL" clId="{C3295FBD-69E7-4C19-87B1-56C8457354BA}" dt="2025-04-09T13:54:49.948" v="72059"/>
          <ac:spMkLst>
            <pc:docMk/>
            <pc:sldMk cId="4024581190" sldId="2147376660"/>
            <ac:spMk id="4" creationId="{AFA6F247-418A-2D83-8C29-87C0B9C76980}"/>
          </ac:spMkLst>
        </pc:spChg>
        <pc:graphicFrameChg chg="mod">
          <ac:chgData name="Magali Aurand" userId="8e613f04-88c6-478f-a50c-6543fd88c657" providerId="ADAL" clId="{C3295FBD-69E7-4C19-87B1-56C8457354BA}" dt="2025-04-02T10:48:14.548" v="59625"/>
          <ac:graphicFrameMkLst>
            <pc:docMk/>
            <pc:sldMk cId="4024581190" sldId="2147376660"/>
            <ac:graphicFrameMk id="5" creationId="{F3F9EF67-C1FD-2A7A-5721-7590B369E2EE}"/>
          </ac:graphicFrameMkLst>
        </pc:graphicFrameChg>
        <pc:graphicFrameChg chg="mod modGraphic">
          <ac:chgData name="Magali Aurand" userId="8e613f04-88c6-478f-a50c-6543fd88c657" providerId="ADAL" clId="{C3295FBD-69E7-4C19-87B1-56C8457354BA}" dt="2025-04-10T10:22:51.330" v="77184" actId="14100"/>
          <ac:graphicFrameMkLst>
            <pc:docMk/>
            <pc:sldMk cId="4024581190" sldId="2147376660"/>
            <ac:graphicFrameMk id="9" creationId="{0C4EF7B9-D6BC-33DB-4641-845210D496B7}"/>
          </ac:graphicFrameMkLst>
        </pc:graphicFrameChg>
        <pc:graphicFrameChg chg="mod modGraphic">
          <ac:chgData name="Magali Aurand" userId="8e613f04-88c6-478f-a50c-6543fd88c657" providerId="ADAL" clId="{C3295FBD-69E7-4C19-87B1-56C8457354BA}" dt="2025-04-10T10:23:02.831" v="77187" actId="14100"/>
          <ac:graphicFrameMkLst>
            <pc:docMk/>
            <pc:sldMk cId="4024581190" sldId="2147376660"/>
            <ac:graphicFrameMk id="10" creationId="{C27AF575-7596-414D-B3E5-6049F0D097DD}"/>
          </ac:graphicFrameMkLst>
        </pc:graphicFrameChg>
        <pc:graphicFrameChg chg="modGraphic">
          <ac:chgData name="Magali Aurand" userId="8e613f04-88c6-478f-a50c-6543fd88c657" providerId="ADAL" clId="{C3295FBD-69E7-4C19-87B1-56C8457354BA}" dt="2025-04-10T10:22:38.664" v="77180" actId="14100"/>
          <ac:graphicFrameMkLst>
            <pc:docMk/>
            <pc:sldMk cId="4024581190" sldId="2147376660"/>
            <ac:graphicFrameMk id="11" creationId="{16D3F03A-98F2-3AC7-64E1-AD3E3EC98C73}"/>
          </ac:graphicFrameMkLst>
        </pc:graphicFrameChg>
        <pc:graphicFrameChg chg="modGraphic">
          <ac:chgData name="Magali Aurand" userId="8e613f04-88c6-478f-a50c-6543fd88c657" providerId="ADAL" clId="{C3295FBD-69E7-4C19-87B1-56C8457354BA}" dt="2025-04-10T10:19:43.050" v="77179" actId="20577"/>
          <ac:graphicFrameMkLst>
            <pc:docMk/>
            <pc:sldMk cId="4024581190" sldId="2147376660"/>
            <ac:graphicFrameMk id="12" creationId="{694DDC4B-3693-9C23-9839-83620B8F85EC}"/>
          </ac:graphicFrameMkLst>
        </pc:graphicFrameChg>
        <pc:picChg chg="add mod">
          <ac:chgData name="Magali Aurand" userId="8e613f04-88c6-478f-a50c-6543fd88c657" providerId="ADAL" clId="{C3295FBD-69E7-4C19-87B1-56C8457354BA}" dt="2025-04-10T09:29:28.018" v="74042" actId="1035"/>
          <ac:picMkLst>
            <pc:docMk/>
            <pc:sldMk cId="4024581190" sldId="2147376660"/>
            <ac:picMk id="7" creationId="{3390CDA2-0312-D9F4-0632-B9D5504D51E1}"/>
          </ac:picMkLst>
        </pc:picChg>
        <pc:picChg chg="mod">
          <ac:chgData name="Magali Aurand" userId="8e613f04-88c6-478f-a50c-6543fd88c657" providerId="ADAL" clId="{C3295FBD-69E7-4C19-87B1-56C8457354BA}" dt="2025-04-10T09:42:17.529" v="74737" actId="207"/>
          <ac:picMkLst>
            <pc:docMk/>
            <pc:sldMk cId="4024581190" sldId="2147376660"/>
            <ac:picMk id="14" creationId="{2B15474A-2C7A-A00F-2300-899C28B3DD7A}"/>
          </ac:picMkLst>
        </pc:picChg>
        <pc:picChg chg="mod">
          <ac:chgData name="Magali Aurand" userId="8e613f04-88c6-478f-a50c-6543fd88c657" providerId="ADAL" clId="{C3295FBD-69E7-4C19-87B1-56C8457354BA}" dt="2025-04-10T09:32:12.705" v="74059" actId="27349"/>
          <ac:picMkLst>
            <pc:docMk/>
            <pc:sldMk cId="4024581190" sldId="2147376660"/>
            <ac:picMk id="15" creationId="{E758EB17-73B6-8134-CE3C-0C92EDF171F7}"/>
          </ac:picMkLst>
        </pc:picChg>
        <pc:picChg chg="mod">
          <ac:chgData name="Magali Aurand" userId="8e613f04-88c6-478f-a50c-6543fd88c657" providerId="ADAL" clId="{C3295FBD-69E7-4C19-87B1-56C8457354BA}" dt="2025-04-10T09:32:09.299" v="74058" actId="207"/>
          <ac:picMkLst>
            <pc:docMk/>
            <pc:sldMk cId="4024581190" sldId="2147376660"/>
            <ac:picMk id="16" creationId="{4470E2D0-33F8-5145-51AE-644D114AA3CA}"/>
          </ac:picMkLst>
        </pc:picChg>
        <pc:picChg chg="add mod">
          <ac:chgData name="Magali Aurand" userId="8e613f04-88c6-478f-a50c-6543fd88c657" providerId="ADAL" clId="{C3295FBD-69E7-4C19-87B1-56C8457354BA}" dt="2025-04-10T09:29:28.018" v="74042" actId="1035"/>
          <ac:picMkLst>
            <pc:docMk/>
            <pc:sldMk cId="4024581190" sldId="2147376660"/>
            <ac:picMk id="1026" creationId="{EFCDC7F9-1D2B-D2A7-001D-B1F0C7CA0711}"/>
          </ac:picMkLst>
        </pc:picChg>
        <pc:picChg chg="add mod">
          <ac:chgData name="Magali Aurand" userId="8e613f04-88c6-478f-a50c-6543fd88c657" providerId="ADAL" clId="{C3295FBD-69E7-4C19-87B1-56C8457354BA}" dt="2025-04-10T09:29:28.018" v="74042" actId="1035"/>
          <ac:picMkLst>
            <pc:docMk/>
            <pc:sldMk cId="4024581190" sldId="2147376660"/>
            <ac:picMk id="1028" creationId="{C9BB8AE7-5B85-F0F1-53AC-2F2D4F527112}"/>
          </ac:picMkLst>
        </pc:picChg>
      </pc:sldChg>
      <pc:sldChg chg="addSp delSp modSp new mod modClrScheme modCm chgLayout modNotesTx">
        <pc:chgData name="Magali Aurand" userId="8e613f04-88c6-478f-a50c-6543fd88c657" providerId="ADAL" clId="{C3295FBD-69E7-4C19-87B1-56C8457354BA}" dt="2025-04-09T13:44:29.004" v="71951" actId="1035"/>
        <pc:sldMkLst>
          <pc:docMk/>
          <pc:sldMk cId="471459373" sldId="2147376661"/>
        </pc:sldMkLst>
        <pc:spChg chg="add mod">
          <ac:chgData name="Magali Aurand" userId="8e613f04-88c6-478f-a50c-6543fd88c657" providerId="ADAL" clId="{C3295FBD-69E7-4C19-87B1-56C8457354BA}" dt="2025-04-02T14:24:06.273" v="59883" actId="948"/>
          <ac:spMkLst>
            <pc:docMk/>
            <pc:sldMk cId="471459373" sldId="2147376661"/>
            <ac:spMk id="2" creationId="{CAA3C7C9-B0E3-9EE2-89D3-2F1A036A227E}"/>
          </ac:spMkLst>
        </pc:spChg>
        <pc:spChg chg="add mod">
          <ac:chgData name="Magali Aurand" userId="8e613f04-88c6-478f-a50c-6543fd88c657" providerId="ADAL" clId="{C3295FBD-69E7-4C19-87B1-56C8457354BA}" dt="2025-04-08T15:11:57.198" v="69785" actId="403"/>
          <ac:spMkLst>
            <pc:docMk/>
            <pc:sldMk cId="471459373" sldId="2147376661"/>
            <ac:spMk id="5" creationId="{81B315FD-F453-2434-83D2-2C2D57B11CE8}"/>
          </ac:spMkLst>
        </pc:spChg>
        <pc:spChg chg="add mod">
          <ac:chgData name="Magali Aurand" userId="8e613f04-88c6-478f-a50c-6543fd88c657" providerId="ADAL" clId="{C3295FBD-69E7-4C19-87B1-56C8457354BA}" dt="2025-04-09T13:44:24.437" v="71948" actId="1035"/>
          <ac:spMkLst>
            <pc:docMk/>
            <pc:sldMk cId="471459373" sldId="2147376661"/>
            <ac:spMk id="6" creationId="{435E1CED-A6FF-DA07-E0AE-DAEF3C2D487A}"/>
          </ac:spMkLst>
        </pc:spChg>
        <pc:spChg chg="add mod">
          <ac:chgData name="Magali Aurand" userId="8e613f04-88c6-478f-a50c-6543fd88c657" providerId="ADAL" clId="{C3295FBD-69E7-4C19-87B1-56C8457354BA}" dt="2025-04-08T15:23:02.626" v="70438" actId="20577"/>
          <ac:spMkLst>
            <pc:docMk/>
            <pc:sldMk cId="471459373" sldId="2147376661"/>
            <ac:spMk id="7" creationId="{B0E118B4-EBB7-3903-692E-885BE721A8E1}"/>
          </ac:spMkLst>
        </pc:spChg>
        <pc:spChg chg="add mod">
          <ac:chgData name="Magali Aurand" userId="8e613f04-88c6-478f-a50c-6543fd88c657" providerId="ADAL" clId="{C3295FBD-69E7-4C19-87B1-56C8457354BA}" dt="2025-04-08T15:24:48.914" v="70807" actId="113"/>
          <ac:spMkLst>
            <pc:docMk/>
            <pc:sldMk cId="471459373" sldId="2147376661"/>
            <ac:spMk id="8" creationId="{2F471931-8F1B-4E10-9698-D23617AD53C1}"/>
          </ac:spMkLst>
        </pc:spChg>
        <pc:spChg chg="add mod">
          <ac:chgData name="Magali Aurand" userId="8e613f04-88c6-478f-a50c-6543fd88c657" providerId="ADAL" clId="{C3295FBD-69E7-4C19-87B1-56C8457354BA}" dt="2025-04-08T15:28:12.444" v="71245" actId="20577"/>
          <ac:spMkLst>
            <pc:docMk/>
            <pc:sldMk cId="471459373" sldId="2147376661"/>
            <ac:spMk id="9" creationId="{0B9297AA-2428-890B-5301-F42A37FD3DD9}"/>
          </ac:spMkLst>
        </pc:spChg>
        <pc:spChg chg="add mod">
          <ac:chgData name="Magali Aurand" userId="8e613f04-88c6-478f-a50c-6543fd88c657" providerId="ADAL" clId="{C3295FBD-69E7-4C19-87B1-56C8457354BA}" dt="2025-04-08T15:31:43.055" v="71659" actId="20577"/>
          <ac:spMkLst>
            <pc:docMk/>
            <pc:sldMk cId="471459373" sldId="2147376661"/>
            <ac:spMk id="10" creationId="{919BBDDB-0653-FBB2-2B79-F059B2637261}"/>
          </ac:spMkLst>
        </pc:spChg>
        <pc:graphicFrameChg chg="add mod ord modVis">
          <ac:chgData name="Magali Aurand" userId="8e613f04-88c6-478f-a50c-6543fd88c657" providerId="ADAL" clId="{C3295FBD-69E7-4C19-87B1-56C8457354BA}" dt="2025-04-02T14:24:06.292" v="59907"/>
          <ac:graphicFrameMkLst>
            <pc:docMk/>
            <pc:sldMk cId="471459373" sldId="2147376661"/>
            <ac:graphicFrameMk id="4" creationId="{F90E5F4C-3160-812B-68F3-6E31613449D1}"/>
          </ac:graphicFrameMkLst>
        </pc:graphicFrameChg>
        <pc:picChg chg="add mod">
          <ac:chgData name="Magali Aurand" userId="8e613f04-88c6-478f-a50c-6543fd88c657" providerId="ADAL" clId="{C3295FBD-69E7-4C19-87B1-56C8457354BA}" dt="2025-04-08T15:22:24.267" v="70387" actId="1076"/>
          <ac:picMkLst>
            <pc:docMk/>
            <pc:sldMk cId="471459373" sldId="2147376661"/>
            <ac:picMk id="11" creationId="{8C001E0B-1772-DE6B-B245-EB8E218E788C}"/>
          </ac:picMkLst>
        </pc:picChg>
        <pc:picChg chg="add mod">
          <ac:chgData name="Magali Aurand" userId="8e613f04-88c6-478f-a50c-6543fd88c657" providerId="ADAL" clId="{C3295FBD-69E7-4C19-87B1-56C8457354BA}" dt="2025-04-08T15:22:32.954" v="70389" actId="1076"/>
          <ac:picMkLst>
            <pc:docMk/>
            <pc:sldMk cId="471459373" sldId="2147376661"/>
            <ac:picMk id="12" creationId="{82E2CFCC-0247-655C-5B48-BF425F8E98EE}"/>
          </ac:picMkLst>
        </pc:picChg>
        <pc:picChg chg="add mod">
          <ac:chgData name="Magali Aurand" userId="8e613f04-88c6-478f-a50c-6543fd88c657" providerId="ADAL" clId="{C3295FBD-69E7-4C19-87B1-56C8457354BA}" dt="2025-04-08T15:22:28.116" v="70388" actId="1076"/>
          <ac:picMkLst>
            <pc:docMk/>
            <pc:sldMk cId="471459373" sldId="2147376661"/>
            <ac:picMk id="13" creationId="{6130DC2D-B166-706D-FFCE-A91F7FBC44D9}"/>
          </ac:picMkLst>
        </pc:picChg>
        <pc:picChg chg="add mod">
          <ac:chgData name="Magali Aurand" userId="8e613f04-88c6-478f-a50c-6543fd88c657" providerId="ADAL" clId="{C3295FBD-69E7-4C19-87B1-56C8457354BA}" dt="2025-04-09T13:44:29.004" v="71951" actId="1035"/>
          <ac:picMkLst>
            <pc:docMk/>
            <pc:sldMk cId="471459373" sldId="2147376661"/>
            <ac:picMk id="16" creationId="{7CDABB22-59AC-CF47-C18F-D40A4660058E}"/>
          </ac:picMkLst>
        </pc:picChg>
        <pc:extLst>
          <p:ext xmlns:p="http://schemas.openxmlformats.org/presentationml/2006/main" uri="{D6D511B9-2390-475A-947B-AFAB55BFBCF1}">
            <pc226:cmChg xmlns:pc226="http://schemas.microsoft.com/office/powerpoint/2022/06/main/command" chg="mod">
              <pc226:chgData name="Magali Aurand" userId="8e613f04-88c6-478f-a50c-6543fd88c657" providerId="ADAL" clId="{C3295FBD-69E7-4C19-87B1-56C8457354BA}" dt="2025-04-09T13:43:34.225" v="71931" actId="20577"/>
              <pc2:cmMkLst xmlns:pc2="http://schemas.microsoft.com/office/powerpoint/2019/9/main/command">
                <pc:docMk/>
                <pc:sldMk cId="471459373" sldId="2147376661"/>
                <pc2:cmMk id="{36747FD9-13D1-4B6B-9FA3-7340FBAD37BC}"/>
              </pc2:cmMkLst>
            </pc226:cmChg>
          </p:ext>
        </pc:extLst>
      </pc:sldChg>
      <pc:sldChg chg="addSp delSp modSp new mod ord modClrScheme chgLayout modNotesTx">
        <pc:chgData name="Magali Aurand" userId="8e613f04-88c6-478f-a50c-6543fd88c657" providerId="ADAL" clId="{C3295FBD-69E7-4C19-87B1-56C8457354BA}" dt="2025-04-10T10:25:47.595" v="77275" actId="13926"/>
        <pc:sldMkLst>
          <pc:docMk/>
          <pc:sldMk cId="590787489" sldId="2147376662"/>
        </pc:sldMkLst>
        <pc:spChg chg="add mod ord">
          <ac:chgData name="Magali Aurand" userId="8e613f04-88c6-478f-a50c-6543fd88c657" providerId="ADAL" clId="{C3295FBD-69E7-4C19-87B1-56C8457354BA}" dt="2025-04-08T11:16:13.080" v="65562" actId="948"/>
          <ac:spMkLst>
            <pc:docMk/>
            <pc:sldMk cId="590787489" sldId="2147376662"/>
            <ac:spMk id="4" creationId="{840E5EB7-F2CB-AED0-004B-9B03964CAE8A}"/>
          </ac:spMkLst>
        </pc:spChg>
        <pc:spChg chg="add mod ord">
          <ac:chgData name="Magali Aurand" userId="8e613f04-88c6-478f-a50c-6543fd88c657" providerId="ADAL" clId="{C3295FBD-69E7-4C19-87B1-56C8457354BA}" dt="2025-04-08T10:10:39.968" v="63174" actId="113"/>
          <ac:spMkLst>
            <pc:docMk/>
            <pc:sldMk cId="590787489" sldId="2147376662"/>
            <ac:spMk id="5" creationId="{0A198457-EB0A-E86D-178D-CD34FF04C2D6}"/>
          </ac:spMkLst>
        </pc:spChg>
        <pc:spChg chg="add mod">
          <ac:chgData name="Magali Aurand" userId="8e613f04-88c6-478f-a50c-6543fd88c657" providerId="ADAL" clId="{C3295FBD-69E7-4C19-87B1-56C8457354BA}" dt="2025-04-10T10:25:47.595" v="77275" actId="13926"/>
          <ac:spMkLst>
            <pc:docMk/>
            <pc:sldMk cId="590787489" sldId="2147376662"/>
            <ac:spMk id="9" creationId="{C18F0816-335F-9180-9147-CD4DA24B8D9A}"/>
          </ac:spMkLst>
        </pc:spChg>
        <pc:graphicFrameChg chg="add mod ord modVis">
          <ac:chgData name="Magali Aurand" userId="8e613f04-88c6-478f-a50c-6543fd88c657" providerId="ADAL" clId="{C3295FBD-69E7-4C19-87B1-56C8457354BA}" dt="2025-04-08T11:16:13.108" v="65586"/>
          <ac:graphicFrameMkLst>
            <pc:docMk/>
            <pc:sldMk cId="590787489" sldId="2147376662"/>
            <ac:graphicFrameMk id="6" creationId="{707F846A-1966-E55D-9CB7-6CD8012F3409}"/>
          </ac:graphicFrameMkLst>
        </pc:graphicFrameChg>
      </pc:sldChg>
      <pc:sldChg chg="addSp delSp modSp new del mod modClrScheme chgLayout">
        <pc:chgData name="Magali Aurand" userId="8e613f04-88c6-478f-a50c-6543fd88c657" providerId="ADAL" clId="{C3295FBD-69E7-4C19-87B1-56C8457354BA}" dt="2025-04-08T11:15:12.458" v="65364" actId="47"/>
        <pc:sldMkLst>
          <pc:docMk/>
          <pc:sldMk cId="788678867" sldId="2147376663"/>
        </pc:sldMkLst>
      </pc:sldChg>
      <pc:sldChg chg="addSp delSp modSp add mod">
        <pc:chgData name="Magali Aurand" userId="8e613f04-88c6-478f-a50c-6543fd88c657" providerId="ADAL" clId="{C3295FBD-69E7-4C19-87B1-56C8457354BA}" dt="2025-04-09T16:07:11.457" v="73658"/>
        <pc:sldMkLst>
          <pc:docMk/>
          <pc:sldMk cId="2536046697" sldId="2147376663"/>
        </pc:sldMkLst>
        <pc:spChg chg="mod">
          <ac:chgData name="Magali Aurand" userId="8e613f04-88c6-478f-a50c-6543fd88c657" providerId="ADAL" clId="{C3295FBD-69E7-4C19-87B1-56C8457354BA}" dt="2025-04-09T16:07:11.423" v="73634" actId="948"/>
          <ac:spMkLst>
            <pc:docMk/>
            <pc:sldMk cId="2536046697" sldId="2147376663"/>
            <ac:spMk id="2" creationId="{D6230487-6CDC-9CBC-770F-E8197D10281D}"/>
          </ac:spMkLst>
        </pc:spChg>
        <pc:graphicFrameChg chg="mod">
          <ac:chgData name="Magali Aurand" userId="8e613f04-88c6-478f-a50c-6543fd88c657" providerId="ADAL" clId="{C3295FBD-69E7-4C19-87B1-56C8457354BA}" dt="2025-04-09T16:07:11.457" v="73658"/>
          <ac:graphicFrameMkLst>
            <pc:docMk/>
            <pc:sldMk cId="2536046697" sldId="2147376663"/>
            <ac:graphicFrameMk id="7" creationId="{1905D66F-76FB-E1F2-963B-90E247D5AE41}"/>
          </ac:graphicFrameMkLst>
        </pc:graphicFrameChg>
        <pc:picChg chg="add mod">
          <ac:chgData name="Magali Aurand" userId="8e613f04-88c6-478f-a50c-6543fd88c657" providerId="ADAL" clId="{C3295FBD-69E7-4C19-87B1-56C8457354BA}" dt="2025-04-09T15:07:43.106" v="73523" actId="1035"/>
          <ac:picMkLst>
            <pc:docMk/>
            <pc:sldMk cId="2536046697" sldId="2147376663"/>
            <ac:picMk id="12" creationId="{1E4968C6-B40F-F8B2-799E-D00C672E631E}"/>
          </ac:picMkLst>
        </pc:picChg>
        <pc:picChg chg="add mod modCrop">
          <ac:chgData name="Magali Aurand" userId="8e613f04-88c6-478f-a50c-6543fd88c657" providerId="ADAL" clId="{C3295FBD-69E7-4C19-87B1-56C8457354BA}" dt="2025-04-09T15:09:05.483" v="73569" actId="732"/>
          <ac:picMkLst>
            <pc:docMk/>
            <pc:sldMk cId="2536046697" sldId="2147376663"/>
            <ac:picMk id="16" creationId="{2EE3D732-40B4-19B3-1DAB-86E78122E1D7}"/>
          </ac:picMkLst>
        </pc:picChg>
        <pc:picChg chg="add mod">
          <ac:chgData name="Magali Aurand" userId="8e613f04-88c6-478f-a50c-6543fd88c657" providerId="ADAL" clId="{C3295FBD-69E7-4C19-87B1-56C8457354BA}" dt="2025-04-09T15:07:46.618" v="73533" actId="1035"/>
          <ac:picMkLst>
            <pc:docMk/>
            <pc:sldMk cId="2536046697" sldId="2147376663"/>
            <ac:picMk id="21" creationId="{55BE114B-0AC2-0C8E-FE4D-CDAEF0570735}"/>
          </ac:picMkLst>
        </pc:picChg>
        <pc:picChg chg="add mod">
          <ac:chgData name="Magali Aurand" userId="8e613f04-88c6-478f-a50c-6543fd88c657" providerId="ADAL" clId="{C3295FBD-69E7-4C19-87B1-56C8457354BA}" dt="2025-04-09T15:08:56.106" v="73568" actId="1035"/>
          <ac:picMkLst>
            <pc:docMk/>
            <pc:sldMk cId="2536046697" sldId="2147376663"/>
            <ac:picMk id="23" creationId="{1B587640-2053-0E62-8B8B-38A0AED2D8D1}"/>
          </ac:picMkLst>
        </pc:picChg>
        <pc:picChg chg="add mod">
          <ac:chgData name="Magali Aurand" userId="8e613f04-88c6-478f-a50c-6543fd88c657" providerId="ADAL" clId="{C3295FBD-69E7-4C19-87B1-56C8457354BA}" dt="2025-04-09T15:08:56.106" v="73568" actId="1035"/>
          <ac:picMkLst>
            <pc:docMk/>
            <pc:sldMk cId="2536046697" sldId="2147376663"/>
            <ac:picMk id="25" creationId="{2EB51C4C-C952-71F2-0F08-47746603E821}"/>
          </ac:picMkLst>
        </pc:picChg>
        <pc:picChg chg="add mod">
          <ac:chgData name="Magali Aurand" userId="8e613f04-88c6-478f-a50c-6543fd88c657" providerId="ADAL" clId="{C3295FBD-69E7-4C19-87B1-56C8457354BA}" dt="2025-04-09T15:09:40.589" v="73573" actId="1076"/>
          <ac:picMkLst>
            <pc:docMk/>
            <pc:sldMk cId="2536046697" sldId="2147376663"/>
            <ac:picMk id="27" creationId="{3EDE17F4-0A9F-56A6-756A-EE8BB80B4F0F}"/>
          </ac:picMkLst>
        </pc:picChg>
      </pc:sldChg>
      <pc:sldChg chg="new del">
        <pc:chgData name="Magali Aurand" userId="8e613f04-88c6-478f-a50c-6543fd88c657" providerId="ADAL" clId="{C3295FBD-69E7-4C19-87B1-56C8457354BA}" dt="2025-04-09T14:50:25.217" v="72880" actId="47"/>
        <pc:sldMkLst>
          <pc:docMk/>
          <pc:sldMk cId="4227077850" sldId="2147376663"/>
        </pc:sldMkLst>
      </pc:sldChg>
      <pc:sldChg chg="addSp delSp modSp add mod">
        <pc:chgData name="Magali Aurand" userId="8e613f04-88c6-478f-a50c-6543fd88c657" providerId="ADAL" clId="{C3295FBD-69E7-4C19-87B1-56C8457354BA}" dt="2025-04-09T16:07:17.925" v="73737"/>
        <pc:sldMkLst>
          <pc:docMk/>
          <pc:sldMk cId="702078117" sldId="2147376664"/>
        </pc:sldMkLst>
        <pc:spChg chg="mod">
          <ac:chgData name="Magali Aurand" userId="8e613f04-88c6-478f-a50c-6543fd88c657" providerId="ADAL" clId="{C3295FBD-69E7-4C19-87B1-56C8457354BA}" dt="2025-04-09T16:07:17.895" v="73713" actId="948"/>
          <ac:spMkLst>
            <pc:docMk/>
            <pc:sldMk cId="702078117" sldId="2147376664"/>
            <ac:spMk id="2" creationId="{47B25547-6056-073C-9F29-A0D1ACBC1167}"/>
          </ac:spMkLst>
        </pc:spChg>
        <pc:graphicFrameChg chg="mod">
          <ac:chgData name="Magali Aurand" userId="8e613f04-88c6-478f-a50c-6543fd88c657" providerId="ADAL" clId="{C3295FBD-69E7-4C19-87B1-56C8457354BA}" dt="2025-04-09T16:07:17.925" v="73737"/>
          <ac:graphicFrameMkLst>
            <pc:docMk/>
            <pc:sldMk cId="702078117" sldId="2147376664"/>
            <ac:graphicFrameMk id="7" creationId="{1F670CA7-2424-4571-BD08-B1FA494AD1DA}"/>
          </ac:graphicFrameMkLst>
        </pc:graphicFrameChg>
      </pc:sldChg>
      <pc:sldChg chg="new del">
        <pc:chgData name="Magali Aurand" userId="8e613f04-88c6-478f-a50c-6543fd88c657" providerId="ADAL" clId="{C3295FBD-69E7-4C19-87B1-56C8457354BA}" dt="2025-04-09T15:06:03.417" v="73490" actId="680"/>
        <pc:sldMkLst>
          <pc:docMk/>
          <pc:sldMk cId="1676650480" sldId="2147376664"/>
        </pc:sldMkLst>
      </pc:sldChg>
      <pc:sldChg chg="del">
        <pc:chgData name="Magali Aurand" userId="8e613f04-88c6-478f-a50c-6543fd88c657" providerId="ADAL" clId="{C3295FBD-69E7-4C19-87B1-56C8457354BA}" dt="2025-02-25T14:55:36.921" v="207" actId="47"/>
        <pc:sldMkLst>
          <pc:docMk/>
          <pc:sldMk cId="192207065" sldId="2147475312"/>
        </pc:sldMkLst>
      </pc:sldChg>
      <pc:sldChg chg="del">
        <pc:chgData name="Magali Aurand" userId="8e613f04-88c6-478f-a50c-6543fd88c657" providerId="ADAL" clId="{C3295FBD-69E7-4C19-87B1-56C8457354BA}" dt="2025-02-25T14:55:38.180" v="209" actId="47"/>
        <pc:sldMkLst>
          <pc:docMk/>
          <pc:sldMk cId="2041679203" sldId="2147475314"/>
        </pc:sldMkLst>
      </pc:sldChg>
      <pc:sldChg chg="del">
        <pc:chgData name="Magali Aurand" userId="8e613f04-88c6-478f-a50c-6543fd88c657" providerId="ADAL" clId="{C3295FBD-69E7-4C19-87B1-56C8457354BA}" dt="2025-02-25T14:55:37.285" v="208" actId="47"/>
        <pc:sldMkLst>
          <pc:docMk/>
          <pc:sldMk cId="3568709849" sldId="2147475318"/>
        </pc:sldMkLst>
      </pc:sldChg>
      <pc:sldChg chg="del">
        <pc:chgData name="Magali Aurand" userId="8e613f04-88c6-478f-a50c-6543fd88c657" providerId="ADAL" clId="{C3295FBD-69E7-4C19-87B1-56C8457354BA}" dt="2025-02-25T14:53:31.268" v="0" actId="47"/>
        <pc:sldMkLst>
          <pc:docMk/>
          <pc:sldMk cId="2046306287" sldId="2147475375"/>
        </pc:sldMkLst>
      </pc:sldChg>
      <pc:sldChg chg="del">
        <pc:chgData name="Magali Aurand" userId="8e613f04-88c6-478f-a50c-6543fd88c657" providerId="ADAL" clId="{C3295FBD-69E7-4C19-87B1-56C8457354BA}" dt="2025-02-25T14:55:39.065" v="210" actId="47"/>
        <pc:sldMkLst>
          <pc:docMk/>
          <pc:sldMk cId="781366216" sldId="2147475376"/>
        </pc:sldMkLst>
      </pc:sldChg>
      <pc:sldChg chg="del">
        <pc:chgData name="Magali Aurand" userId="8e613f04-88c6-478f-a50c-6543fd88c657" providerId="ADAL" clId="{C3295FBD-69E7-4C19-87B1-56C8457354BA}" dt="2025-02-25T14:55:39.991" v="212" actId="47"/>
        <pc:sldMkLst>
          <pc:docMk/>
          <pc:sldMk cId="1757993485" sldId="2147475377"/>
        </pc:sldMkLst>
      </pc:sldChg>
      <pc:sldChg chg="del">
        <pc:chgData name="Magali Aurand" userId="8e613f04-88c6-478f-a50c-6543fd88c657" providerId="ADAL" clId="{C3295FBD-69E7-4C19-87B1-56C8457354BA}" dt="2025-02-25T14:55:41.765" v="214" actId="47"/>
        <pc:sldMkLst>
          <pc:docMk/>
          <pc:sldMk cId="2614283761" sldId="2147475378"/>
        </pc:sldMkLst>
      </pc:sldChg>
      <pc:sldChg chg="del">
        <pc:chgData name="Magali Aurand" userId="8e613f04-88c6-478f-a50c-6543fd88c657" providerId="ADAL" clId="{C3295FBD-69E7-4C19-87B1-56C8457354BA}" dt="2025-02-25T14:55:42.004" v="215" actId="47"/>
        <pc:sldMkLst>
          <pc:docMk/>
          <pc:sldMk cId="767195845" sldId="2147475379"/>
        </pc:sldMkLst>
      </pc:sldChg>
      <pc:sldChg chg="del">
        <pc:chgData name="Magali Aurand" userId="8e613f04-88c6-478f-a50c-6543fd88c657" providerId="ADAL" clId="{C3295FBD-69E7-4C19-87B1-56C8457354BA}" dt="2025-02-25T14:55:42.572" v="217" actId="47"/>
        <pc:sldMkLst>
          <pc:docMk/>
          <pc:sldMk cId="1450532350" sldId="2147475380"/>
        </pc:sldMkLst>
      </pc:sldChg>
      <pc:sldChg chg="del">
        <pc:chgData name="Magali Aurand" userId="8e613f04-88c6-478f-a50c-6543fd88c657" providerId="ADAL" clId="{C3295FBD-69E7-4C19-87B1-56C8457354BA}" dt="2025-02-25T14:55:42.943" v="218" actId="47"/>
        <pc:sldMkLst>
          <pc:docMk/>
          <pc:sldMk cId="3522950770" sldId="2147475381"/>
        </pc:sldMkLst>
      </pc:sldChg>
      <pc:sldChg chg="del">
        <pc:chgData name="Magali Aurand" userId="8e613f04-88c6-478f-a50c-6543fd88c657" providerId="ADAL" clId="{C3295FBD-69E7-4C19-87B1-56C8457354BA}" dt="2025-02-25T14:55:40.499" v="213" actId="47"/>
        <pc:sldMkLst>
          <pc:docMk/>
          <pc:sldMk cId="2833862075" sldId="2147475382"/>
        </pc:sldMkLst>
      </pc:sldChg>
      <pc:sldChg chg="del">
        <pc:chgData name="Magali Aurand" userId="8e613f04-88c6-478f-a50c-6543fd88c657" providerId="ADAL" clId="{C3295FBD-69E7-4C19-87B1-56C8457354BA}" dt="2025-02-25T14:55:42.205" v="216" actId="47"/>
        <pc:sldMkLst>
          <pc:docMk/>
          <pc:sldMk cId="3961175657" sldId="2147475383"/>
        </pc:sldMkLst>
      </pc:sldChg>
      <pc:sldMasterChg chg="addSp delSp modSp add del mod addSldLayout delSldLayout">
        <pc:chgData name="Magali Aurand" userId="8e613f04-88c6-478f-a50c-6543fd88c657" providerId="ADAL" clId="{C3295FBD-69E7-4C19-87B1-56C8457354BA}" dt="2025-02-25T14:56:05.625" v="266" actId="700"/>
        <pc:sldMasterMkLst>
          <pc:docMk/>
          <pc:sldMasterMk cId="90661880" sldId="2147483648"/>
        </pc:sldMasterMkLst>
        <pc:spChg chg="mod">
          <ac:chgData name="Magali Aurand" userId="8e613f04-88c6-478f-a50c-6543fd88c657" providerId="ADAL" clId="{C3295FBD-69E7-4C19-87B1-56C8457354BA}" dt="2025-02-25T14:53:38.635" v="6" actId="948"/>
          <ac:spMkLst>
            <pc:docMk/>
            <pc:sldMasterMk cId="90661880" sldId="2147483648"/>
            <ac:spMk id="2" creationId="{DE6B8197-5962-BA09-4060-CB73AAEF0058}"/>
          </ac:spMkLst>
        </pc:spChg>
        <pc:graphicFrameChg chg="add mod ord modVis">
          <ac:chgData name="Magali Aurand" userId="8e613f04-88c6-478f-a50c-6543fd88c657" providerId="ADAL" clId="{C3295FBD-69E7-4C19-87B1-56C8457354BA}" dt="2025-02-25T14:53:38.686" v="43"/>
          <ac:graphicFrameMkLst>
            <pc:docMk/>
            <pc:sldMasterMk cId="90661880" sldId="2147483648"/>
            <ac:graphicFrameMk id="8" creationId="{47277FA9-D597-375D-3654-4865AC6F1C60}"/>
          </ac:graphicFrameMkLst>
        </pc:graphicFrameChg>
        <pc:sldLayoutChg chg="add del">
          <pc:chgData name="Magali Aurand" userId="8e613f04-88c6-478f-a50c-6543fd88c657" providerId="ADAL" clId="{C3295FBD-69E7-4C19-87B1-56C8457354BA}" dt="2025-02-25T14:56:05.625" v="266" actId="700"/>
          <pc:sldLayoutMkLst>
            <pc:docMk/>
            <pc:sldMasterMk cId="90661880" sldId="2147483648"/>
            <pc:sldLayoutMk cId="2826808467" sldId="2147483649"/>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2834878277" sldId="2147483650"/>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3841540841" sldId="2147483651"/>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330667013" sldId="2147483652"/>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585485247" sldId="2147483653"/>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58802567" sldId="2147483654"/>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2897136138" sldId="2147483655"/>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2194502796" sldId="2147483656"/>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1199689996" sldId="2147483657"/>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2523147263" sldId="2147483658"/>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3347184036" sldId="2147483659"/>
          </pc:sldLayoutMkLst>
        </pc:sldLayoutChg>
        <pc:sldLayoutChg chg="add del">
          <pc:chgData name="Magali Aurand" userId="8e613f04-88c6-478f-a50c-6543fd88c657" providerId="ADAL" clId="{C3295FBD-69E7-4C19-87B1-56C8457354BA}" dt="2025-02-25T14:56:05.625" v="266" actId="700"/>
          <pc:sldLayoutMkLst>
            <pc:docMk/>
            <pc:sldMasterMk cId="90661880" sldId="2147483648"/>
            <pc:sldLayoutMk cId="558693666" sldId="2147483661"/>
          </pc:sldLayoutMkLst>
        </pc:sldLayoutChg>
        <pc:sldLayoutChg chg="del">
          <pc:chgData name="Magali Aurand" userId="8e613f04-88c6-478f-a50c-6543fd88c657" providerId="ADAL" clId="{C3295FBD-69E7-4C19-87B1-56C8457354BA}" dt="2025-02-25T14:53:31.268" v="0" actId="47"/>
          <pc:sldLayoutMkLst>
            <pc:docMk/>
            <pc:sldMasterMk cId="90661880" sldId="2147483648"/>
            <pc:sldLayoutMk cId="2823733919" sldId="2147483667"/>
          </pc:sldLayoutMkLst>
        </pc:sldLayoutChg>
      </pc:sldMasterChg>
      <pc:sldMasterChg chg="delSldLayout">
        <pc:chgData name="Magali Aurand" userId="8e613f04-88c6-478f-a50c-6543fd88c657" providerId="ADAL" clId="{C3295FBD-69E7-4C19-87B1-56C8457354BA}" dt="2025-02-25T14:55:42.943" v="218" actId="47"/>
        <pc:sldMasterMkLst>
          <pc:docMk/>
          <pc:sldMasterMk cId="2172973635" sldId="2147483668"/>
        </pc:sldMasterMkLst>
        <pc:sldLayoutChg chg="del">
          <pc:chgData name="Magali Aurand" userId="8e613f04-88c6-478f-a50c-6543fd88c657" providerId="ADAL" clId="{C3295FBD-69E7-4C19-87B1-56C8457354BA}" dt="2025-02-25T14:55:42.943" v="218" actId="47"/>
          <pc:sldLayoutMkLst>
            <pc:docMk/>
            <pc:sldMasterMk cId="2172973635" sldId="2147483668"/>
            <pc:sldLayoutMk cId="2927001328" sldId="2147483673"/>
          </pc:sldLayoutMkLst>
        </pc:sldLayoutChg>
      </pc:sldMasterChg>
    </pc:docChg>
  </pc:docChgLst>
  <pc:docChgLst>
    <pc:chgData name="Alex Hoyle" userId="72c61a1e-b642-434f-9b4b-6a0ea97a156c" providerId="ADAL" clId="{B227C478-839A-4724-AEEC-44B22ACF1D2C}"/>
    <pc:docChg chg="modSld">
      <pc:chgData name="Alex Hoyle" userId="72c61a1e-b642-434f-9b4b-6a0ea97a156c" providerId="ADAL" clId="{B227C478-839A-4724-AEEC-44B22ACF1D2C}" dt="2025-04-09T10:01:30.714" v="7" actId="20577"/>
      <pc:docMkLst>
        <pc:docMk/>
      </pc:docMkLst>
      <pc:sldChg chg="modSp mod modCm">
        <pc:chgData name="Alex Hoyle" userId="72c61a1e-b642-434f-9b4b-6a0ea97a156c" providerId="ADAL" clId="{B227C478-839A-4724-AEEC-44B22ACF1D2C}" dt="2025-04-09T09:59:46.914" v="3" actId="14100"/>
        <pc:sldMkLst>
          <pc:docMk/>
          <pc:sldMk cId="3989600831" sldId="2147376624"/>
        </pc:sldMkLst>
        <pc:spChg chg="mod">
          <ac:chgData name="Alex Hoyle" userId="72c61a1e-b642-434f-9b4b-6a0ea97a156c" providerId="ADAL" clId="{B227C478-839A-4724-AEEC-44B22ACF1D2C}" dt="2025-04-09T09:59:46.914" v="3" actId="14100"/>
          <ac:spMkLst>
            <pc:docMk/>
            <pc:sldMk cId="3989600831" sldId="2147376624"/>
            <ac:spMk id="11" creationId="{AB2ED6FF-600D-4046-A920-7111BF7D0016}"/>
          </ac:spMkLst>
        </pc:spChg>
        <pc:extLst>
          <p:ext xmlns:p="http://schemas.openxmlformats.org/presentationml/2006/main" uri="{D6D511B9-2390-475A-947B-AFAB55BFBCF1}">
            <pc226:cmChg xmlns:pc226="http://schemas.microsoft.com/office/powerpoint/2022/06/main/command" chg="mod">
              <pc226:chgData name="Alex Hoyle" userId="72c61a1e-b642-434f-9b4b-6a0ea97a156c" providerId="ADAL" clId="{B227C478-839A-4724-AEEC-44B22ACF1D2C}" dt="2025-04-09T09:59:43.581" v="2" actId="20577"/>
              <pc2:cmMkLst xmlns:pc2="http://schemas.microsoft.com/office/powerpoint/2019/9/main/command">
                <pc:docMk/>
                <pc:sldMk cId="3989600831" sldId="2147376624"/>
                <pc2:cmMk id="{AECDE4A0-A868-4943-BAC9-FCCA192CC474}"/>
              </pc2:cmMkLst>
            </pc226:cmChg>
          </p:ext>
        </pc:extLst>
      </pc:sldChg>
      <pc:sldChg chg="modSp mod">
        <pc:chgData name="Alex Hoyle" userId="72c61a1e-b642-434f-9b4b-6a0ea97a156c" providerId="ADAL" clId="{B227C478-839A-4724-AEEC-44B22ACF1D2C}" dt="2025-04-09T10:01:30.714" v="7" actId="20577"/>
        <pc:sldMkLst>
          <pc:docMk/>
          <pc:sldMk cId="3290690944" sldId="2147376625"/>
        </pc:sldMkLst>
        <pc:spChg chg="mod">
          <ac:chgData name="Alex Hoyle" userId="72c61a1e-b642-434f-9b4b-6a0ea97a156c" providerId="ADAL" clId="{B227C478-839A-4724-AEEC-44B22ACF1D2C}" dt="2025-04-09T10:01:30.714" v="7" actId="20577"/>
          <ac:spMkLst>
            <pc:docMk/>
            <pc:sldMk cId="3290690944" sldId="2147376625"/>
            <ac:spMk id="16" creationId="{EA3844AD-26AA-21C0-F1F1-463BAC56D9A6}"/>
          </ac:spMkLst>
        </pc:spChg>
        <pc:spChg chg="mod">
          <ac:chgData name="Alex Hoyle" userId="72c61a1e-b642-434f-9b4b-6a0ea97a156c" providerId="ADAL" clId="{B227C478-839A-4724-AEEC-44B22ACF1D2C}" dt="2025-04-09T10:00:39.226" v="4" actId="14100"/>
          <ac:spMkLst>
            <pc:docMk/>
            <pc:sldMk cId="3290690944" sldId="2147376625"/>
            <ac:spMk id="20" creationId="{AEFD3549-7813-4192-6362-C0F7B3D54994}"/>
          </ac:spMkLst>
        </pc:spChg>
      </pc:sldChg>
    </pc:docChg>
  </pc:docChgLst>
  <pc:docChgLst>
    <pc:chgData name="Magali Aurand" userId="S::maurand_guidehouse.com#ext#@ukpowernetworks.onmicrosoft.com::3a3bf531-d518-44eb-9669-0cce683b782b" providerId="AD" clId="Web-{44B9BB60-9CC1-5502-4BCA-CCCE751D66C4}"/>
    <pc:docChg chg="delSld modSld">
      <pc:chgData name="Magali Aurand" userId="S::maurand_guidehouse.com#ext#@ukpowernetworks.onmicrosoft.com::3a3bf531-d518-44eb-9669-0cce683b782b" providerId="AD" clId="Web-{44B9BB60-9CC1-5502-4BCA-CCCE751D66C4}" dt="2025-05-07T09:41:55.979" v="1"/>
      <pc:docMkLst>
        <pc:docMk/>
      </pc:docMkLst>
      <pc:sldChg chg="del">
        <pc:chgData name="Magali Aurand" userId="S::maurand_guidehouse.com#ext#@ukpowernetworks.onmicrosoft.com::3a3bf531-d518-44eb-9669-0cce683b782b" providerId="AD" clId="Web-{44B9BB60-9CC1-5502-4BCA-CCCE751D66C4}" dt="2025-05-07T09:41:55.979" v="1"/>
        <pc:sldMkLst>
          <pc:docMk/>
          <pc:sldMk cId="1395571397" sldId="2147376635"/>
        </pc:sldMkLst>
      </pc:sldChg>
      <pc:sldChg chg="modNotes">
        <pc:chgData name="Magali Aurand" userId="S::maurand_guidehouse.com#ext#@ukpowernetworks.onmicrosoft.com::3a3bf531-d518-44eb-9669-0cce683b782b" providerId="AD" clId="Web-{44B9BB60-9CC1-5502-4BCA-CCCE751D66C4}" dt="2025-05-07T09:41:50.010" v="0"/>
        <pc:sldMkLst>
          <pc:docMk/>
          <pc:sldMk cId="471459373" sldId="2147376661"/>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276422764227641E-2"/>
          <c:y val="4.2276422764227641E-2"/>
          <c:w val="0.91544715447154468"/>
          <c:h val="0.91544715447154468"/>
        </c:manualLayout>
      </c:layout>
      <c:pieChart>
        <c:varyColors val="0"/>
        <c:ser>
          <c:idx val="0"/>
          <c:order val="0"/>
          <c:dPt>
            <c:idx val="0"/>
            <c:bubble3D val="0"/>
            <c:spPr>
              <a:solidFill>
                <a:schemeClr val="accent2"/>
              </a:solidFill>
              <a:ln>
                <a:noFill/>
              </a:ln>
            </c:spPr>
            <c:extLst>
              <c:ext xmlns:c16="http://schemas.microsoft.com/office/drawing/2014/chart" uri="{C3380CC4-5D6E-409C-BE32-E72D297353CC}">
                <c16:uniqueId val="{00000000-B966-4925-BFF0-EBC8B326D82C}"/>
              </c:ext>
            </c:extLst>
          </c:dPt>
          <c:dPt>
            <c:idx val="1"/>
            <c:bubble3D val="0"/>
            <c:spPr>
              <a:solidFill>
                <a:schemeClr val="accent4"/>
              </a:solidFill>
              <a:ln>
                <a:noFill/>
              </a:ln>
            </c:spPr>
            <c:extLst>
              <c:ext xmlns:c16="http://schemas.microsoft.com/office/drawing/2014/chart" uri="{C3380CC4-5D6E-409C-BE32-E72D297353CC}">
                <c16:uniqueId val="{00000001-B966-4925-BFF0-EBC8B326D82C}"/>
              </c:ext>
            </c:extLst>
          </c:dPt>
          <c:val>
            <c:numRef>
              <c:f>Sheet1!$A$1:$A$2</c:f>
              <c:numCache>
                <c:formatCode>General</c:formatCode>
                <c:ptCount val="2"/>
                <c:pt idx="0">
                  <c:v>85.087531261164699</c:v>
                </c:pt>
                <c:pt idx="1">
                  <c:v>14.912468738835297</c:v>
                </c:pt>
              </c:numCache>
            </c:numRef>
          </c:val>
          <c:extLst>
            <c:ext xmlns:c16="http://schemas.microsoft.com/office/drawing/2014/chart" uri="{C3380CC4-5D6E-409C-BE32-E72D297353CC}">
              <c16:uniqueId val="{00000002-B966-4925-BFF0-EBC8B326D82C}"/>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D541D9-903B-4004-B391-7F4D2674C603}" type="datetimeFigureOut">
              <a:rPr lang="en-GB" smtClean="0"/>
              <a:t>07/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93AA0-593E-4517-83EA-F64CAD561A75}" type="slidenum">
              <a:rPr lang="en-GB" smtClean="0"/>
              <a:t>‹#›</a:t>
            </a:fld>
            <a:endParaRPr lang="en-GB"/>
          </a:p>
        </p:txBody>
      </p:sp>
    </p:spTree>
    <p:extLst>
      <p:ext uri="{BB962C8B-B14F-4D97-AF65-F5344CB8AC3E}">
        <p14:creationId xmlns:p14="http://schemas.microsoft.com/office/powerpoint/2010/main" val="1272294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77B3C77-4E5D-468F-B13A-C111918C449D}" type="slidenum">
              <a:rPr lang="en-GB" smtClean="0"/>
              <a:t>1</a:t>
            </a:fld>
            <a:endParaRPr lang="en-GB"/>
          </a:p>
        </p:txBody>
      </p:sp>
    </p:spTree>
    <p:extLst>
      <p:ext uri="{BB962C8B-B14F-4D97-AF65-F5344CB8AC3E}">
        <p14:creationId xmlns:p14="http://schemas.microsoft.com/office/powerpoint/2010/main" val="41687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prod.euroheat.org/dhc/eu-projects/thunder-t-hermochemical-storage-utilization-e-nabling-data-centre-seasonal-energy-recovery</a:t>
            </a:r>
          </a:p>
        </p:txBody>
      </p:sp>
      <p:sp>
        <p:nvSpPr>
          <p:cNvPr id="4" name="Slide Number Placeholder 3"/>
          <p:cNvSpPr>
            <a:spLocks noGrp="1"/>
          </p:cNvSpPr>
          <p:nvPr>
            <p:ph type="sldNum" sz="quarter" idx="5"/>
          </p:nvPr>
        </p:nvSpPr>
        <p:spPr/>
        <p:txBody>
          <a:bodyPr/>
          <a:lstStyle/>
          <a:p>
            <a:fld id="{26A93AA0-593E-4517-83EA-F64CAD561A75}" type="slidenum">
              <a:rPr lang="en-GB" smtClean="0"/>
              <a:t>20</a:t>
            </a:fld>
            <a:endParaRPr lang="en-GB"/>
          </a:p>
        </p:txBody>
      </p:sp>
    </p:spTree>
    <p:extLst>
      <p:ext uri="{BB962C8B-B14F-4D97-AF65-F5344CB8AC3E}">
        <p14:creationId xmlns:p14="http://schemas.microsoft.com/office/powerpoint/2010/main" val="4243768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prod.euroheat.org/dhc/eu-projects/treasure</a:t>
            </a:r>
          </a:p>
        </p:txBody>
      </p:sp>
      <p:sp>
        <p:nvSpPr>
          <p:cNvPr id="4" name="Slide Number Placeholder 3"/>
          <p:cNvSpPr>
            <a:spLocks noGrp="1"/>
          </p:cNvSpPr>
          <p:nvPr>
            <p:ph type="sldNum" sz="quarter" idx="5"/>
          </p:nvPr>
        </p:nvSpPr>
        <p:spPr/>
        <p:txBody>
          <a:bodyPr/>
          <a:lstStyle/>
          <a:p>
            <a:fld id="{26A93AA0-593E-4517-83EA-F64CAD561A75}" type="slidenum">
              <a:rPr lang="en-GB" smtClean="0"/>
              <a:t>21</a:t>
            </a:fld>
            <a:endParaRPr lang="en-GB"/>
          </a:p>
        </p:txBody>
      </p:sp>
    </p:spTree>
    <p:extLst>
      <p:ext uri="{BB962C8B-B14F-4D97-AF65-F5344CB8AC3E}">
        <p14:creationId xmlns:p14="http://schemas.microsoft.com/office/powerpoint/2010/main" val="518858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prod.euroheat.org/dhc/eu-projects/uses-4-heat</a:t>
            </a:r>
          </a:p>
        </p:txBody>
      </p:sp>
      <p:sp>
        <p:nvSpPr>
          <p:cNvPr id="4" name="Slide Number Placeholder 3"/>
          <p:cNvSpPr>
            <a:spLocks noGrp="1"/>
          </p:cNvSpPr>
          <p:nvPr>
            <p:ph type="sldNum" sz="quarter" idx="5"/>
          </p:nvPr>
        </p:nvSpPr>
        <p:spPr/>
        <p:txBody>
          <a:bodyPr/>
          <a:lstStyle/>
          <a:p>
            <a:fld id="{26A93AA0-593E-4517-83EA-F64CAD561A75}" type="slidenum">
              <a:rPr lang="en-GB" smtClean="0"/>
              <a:t>22</a:t>
            </a:fld>
            <a:endParaRPr lang="en-GB"/>
          </a:p>
        </p:txBody>
      </p:sp>
    </p:spTree>
    <p:extLst>
      <p:ext uri="{BB962C8B-B14F-4D97-AF65-F5344CB8AC3E}">
        <p14:creationId xmlns:p14="http://schemas.microsoft.com/office/powerpoint/2010/main" val="4227790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energieinstitut-linz.at/en/project/how-to-cover-peak-heat-loads-in-dh-networks-with-renewables/#:~:text=The%20aim%20of%20RE%2DPEAK,tool%20for%20district%20heating%20operators.</a:t>
            </a:r>
          </a:p>
        </p:txBody>
      </p:sp>
      <p:sp>
        <p:nvSpPr>
          <p:cNvPr id="4" name="Slide Number Placeholder 3"/>
          <p:cNvSpPr>
            <a:spLocks noGrp="1"/>
          </p:cNvSpPr>
          <p:nvPr>
            <p:ph type="sldNum" sz="quarter" idx="5"/>
          </p:nvPr>
        </p:nvSpPr>
        <p:spPr/>
        <p:txBody>
          <a:bodyPr/>
          <a:lstStyle/>
          <a:p>
            <a:fld id="{26A93AA0-593E-4517-83EA-F64CAD561A75}" type="slidenum">
              <a:rPr lang="en-GB" smtClean="0"/>
              <a:t>23</a:t>
            </a:fld>
            <a:endParaRPr lang="en-GB"/>
          </a:p>
        </p:txBody>
      </p:sp>
    </p:spTree>
    <p:extLst>
      <p:ext uri="{BB962C8B-B14F-4D97-AF65-F5344CB8AC3E}">
        <p14:creationId xmlns:p14="http://schemas.microsoft.com/office/powerpoint/2010/main" val="3058287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24</a:t>
            </a:fld>
            <a:endParaRPr lang="en-GB"/>
          </a:p>
        </p:txBody>
      </p:sp>
    </p:spTree>
    <p:extLst>
      <p:ext uri="{BB962C8B-B14F-4D97-AF65-F5344CB8AC3E}">
        <p14:creationId xmlns:p14="http://schemas.microsoft.com/office/powerpoint/2010/main" val="2057098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25</a:t>
            </a:fld>
            <a:endParaRPr lang="en-GB"/>
          </a:p>
        </p:txBody>
      </p:sp>
    </p:spTree>
    <p:extLst>
      <p:ext uri="{BB962C8B-B14F-4D97-AF65-F5344CB8AC3E}">
        <p14:creationId xmlns:p14="http://schemas.microsoft.com/office/powerpoint/2010/main" val="26092675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26</a:t>
            </a:fld>
            <a:endParaRPr lang="en-GB"/>
          </a:p>
        </p:txBody>
      </p:sp>
    </p:spTree>
    <p:extLst>
      <p:ext uri="{BB962C8B-B14F-4D97-AF65-F5344CB8AC3E}">
        <p14:creationId xmlns:p14="http://schemas.microsoft.com/office/powerpoint/2010/main" val="38411557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gateshead.gov.uk/article/2993/Gateshead-District-Energy-Scheme</a:t>
            </a:r>
          </a:p>
          <a:p>
            <a:r>
              <a:rPr lang="en-US"/>
              <a:t>https://democracy.gateshead.gov.uk/documents/s28829/GEC%20-%20OSC%20resource%20report%20-%20Jun%202021%20copy.pdf</a:t>
            </a:r>
          </a:p>
          <a:p>
            <a:r>
              <a:rPr lang="en-US"/>
              <a:t>https://www.gsenetzerohub.org.uk/wp-content/uploads/2020/05/Gateshead-District-Energy-Scheme.pdf</a:t>
            </a:r>
          </a:p>
        </p:txBody>
      </p:sp>
      <p:sp>
        <p:nvSpPr>
          <p:cNvPr id="4" name="Slide Number Placeholder 3"/>
          <p:cNvSpPr>
            <a:spLocks noGrp="1"/>
          </p:cNvSpPr>
          <p:nvPr>
            <p:ph type="sldNum" sz="quarter" idx="5"/>
          </p:nvPr>
        </p:nvSpPr>
        <p:spPr/>
        <p:txBody>
          <a:bodyPr/>
          <a:lstStyle/>
          <a:p>
            <a:fld id="{26A93AA0-593E-4517-83EA-F64CAD561A75}" type="slidenum">
              <a:rPr lang="en-GB" smtClean="0"/>
              <a:t>28</a:t>
            </a:fld>
            <a:endParaRPr lang="en-GB"/>
          </a:p>
        </p:txBody>
      </p:sp>
    </p:spTree>
    <p:extLst>
      <p:ext uri="{BB962C8B-B14F-4D97-AF65-F5344CB8AC3E}">
        <p14:creationId xmlns:p14="http://schemas.microsoft.com/office/powerpoint/2010/main" val="11827911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29</a:t>
            </a:fld>
            <a:endParaRPr lang="en-GB"/>
          </a:p>
        </p:txBody>
      </p:sp>
    </p:spTree>
    <p:extLst>
      <p:ext uri="{BB962C8B-B14F-4D97-AF65-F5344CB8AC3E}">
        <p14:creationId xmlns:p14="http://schemas.microsoft.com/office/powerpoint/2010/main" val="13417935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ivl.se/english/ivl/press/news/2022-09-15-european-project-shows-how-flexibility-from-the-district-heating-sector-can-add-values-to-the-energy-system.html</a:t>
            </a:r>
          </a:p>
          <a:p>
            <a:r>
              <a:rPr lang="en-US" dirty="0"/>
              <a:t>https://flexisync.eu/download/18.19b39e311838a550c3c8f82/1665581697317/FlexiSync-Final-report.pdf</a:t>
            </a:r>
          </a:p>
        </p:txBody>
      </p:sp>
      <p:sp>
        <p:nvSpPr>
          <p:cNvPr id="4" name="Slide Number Placeholder 3"/>
          <p:cNvSpPr>
            <a:spLocks noGrp="1"/>
          </p:cNvSpPr>
          <p:nvPr>
            <p:ph type="sldNum" sz="quarter" idx="5"/>
          </p:nvPr>
        </p:nvSpPr>
        <p:spPr/>
        <p:txBody>
          <a:bodyPr/>
          <a:lstStyle/>
          <a:p>
            <a:fld id="{26A93AA0-593E-4517-83EA-F64CAD561A75}" type="slidenum">
              <a:rPr lang="en-GB" smtClean="0"/>
              <a:t>31</a:t>
            </a:fld>
            <a:endParaRPr lang="en-GB"/>
          </a:p>
        </p:txBody>
      </p:sp>
    </p:spTree>
    <p:extLst>
      <p:ext uri="{BB962C8B-B14F-4D97-AF65-F5344CB8AC3E}">
        <p14:creationId xmlns:p14="http://schemas.microsoft.com/office/powerpoint/2010/main" val="1701676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4</a:t>
            </a:fld>
            <a:endParaRPr lang="en-GB"/>
          </a:p>
        </p:txBody>
      </p:sp>
    </p:spTree>
    <p:extLst>
      <p:ext uri="{BB962C8B-B14F-4D97-AF65-F5344CB8AC3E}">
        <p14:creationId xmlns:p14="http://schemas.microsoft.com/office/powerpoint/2010/main" val="22946776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A7B20-0343-D3D0-4954-4CE83F338D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61B0E9-77DD-577F-42C2-7808722C4E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58DB94-DF00-302F-6CC3-66E1748602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CEB5E1-2236-7472-C96E-542F97563307}"/>
              </a:ext>
            </a:extLst>
          </p:cNvPr>
          <p:cNvSpPr>
            <a:spLocks noGrp="1"/>
          </p:cNvSpPr>
          <p:nvPr>
            <p:ph type="sldNum" sz="quarter" idx="5"/>
          </p:nvPr>
        </p:nvSpPr>
        <p:spPr/>
        <p:txBody>
          <a:bodyPr/>
          <a:lstStyle/>
          <a:p>
            <a:fld id="{26A93AA0-593E-4517-83EA-F64CAD561A75}" type="slidenum">
              <a:rPr lang="en-GB" smtClean="0"/>
              <a:t>34</a:t>
            </a:fld>
            <a:endParaRPr lang="en-GB"/>
          </a:p>
        </p:txBody>
      </p:sp>
    </p:spTree>
    <p:extLst>
      <p:ext uri="{BB962C8B-B14F-4D97-AF65-F5344CB8AC3E}">
        <p14:creationId xmlns:p14="http://schemas.microsoft.com/office/powerpoint/2010/main" val="4180774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35</a:t>
            </a:fld>
            <a:endParaRPr lang="en-GB"/>
          </a:p>
        </p:txBody>
      </p:sp>
    </p:spTree>
    <p:extLst>
      <p:ext uri="{BB962C8B-B14F-4D97-AF65-F5344CB8AC3E}">
        <p14:creationId xmlns:p14="http://schemas.microsoft.com/office/powerpoint/2010/main" val="26180787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gov.uk/guidance/heat-networks</a:t>
            </a:r>
          </a:p>
          <a:p>
            <a:r>
              <a:rPr lang="en-US"/>
              <a:t>https://www.ofgem.gov.uk/energy-policy-and-regulation/policy-and-regulatory-programmes/heat-networks</a:t>
            </a:r>
          </a:p>
          <a:p>
            <a:r>
              <a:rPr lang="en-US"/>
              <a:t>https://bills.parliament.uk/bills/3311</a:t>
            </a:r>
          </a:p>
          <a:p>
            <a:r>
              <a:rPr lang="en-US"/>
              <a:t>https://www.dlapiper.com/en-gb/insights/publications/energy-act/energy-act-2023---is-this-the-silver-bullet-for-the-expansion-of-heat-networks-in-the-uk</a:t>
            </a:r>
          </a:p>
          <a:p>
            <a:endParaRPr lang="en-US"/>
          </a:p>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37</a:t>
            </a:fld>
            <a:endParaRPr lang="en-GB"/>
          </a:p>
        </p:txBody>
      </p:sp>
    </p:spTree>
    <p:extLst>
      <p:ext uri="{BB962C8B-B14F-4D97-AF65-F5344CB8AC3E}">
        <p14:creationId xmlns:p14="http://schemas.microsoft.com/office/powerpoint/2010/main" val="26230405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gov.uk/government/publications/heat-networks-regulation-technical-standards/heat-network-technical-assurance-scheme-hntas</a:t>
            </a:r>
          </a:p>
          <a:p>
            <a:r>
              <a:rPr lang="en-US"/>
              <a:t>https://assets.publishing.service.gov.uk/media/669fb7b8a3c2a28abb50d545/cibse-2024-huge-changes-to-regulate-uk-heat-networks.pdf</a:t>
            </a:r>
          </a:p>
          <a:p>
            <a:r>
              <a:rPr lang="en-US"/>
              <a:t>https://www.gov.uk/government/publications/heat-network-zoning-overview/heat-network-zoning-overview</a:t>
            </a:r>
          </a:p>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38</a:t>
            </a:fld>
            <a:endParaRPr lang="en-GB"/>
          </a:p>
        </p:txBody>
      </p:sp>
    </p:spTree>
    <p:extLst>
      <p:ext uri="{BB962C8B-B14F-4D97-AF65-F5344CB8AC3E}">
        <p14:creationId xmlns:p14="http://schemas.microsoft.com/office/powerpoint/2010/main" val="1288491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HNF: </a:t>
            </a:r>
          </a:p>
          <a:p>
            <a:r>
              <a:rPr lang="en-US"/>
              <a:t>https://www.businessgreen.com/news/4409758/government-awards-gbp34m-heat-network-funding-projects-leeds-london-kent-devon#:~:text=The%20Department%20for%20Energy%20Security,to%20more%20than%20%C2%A3380m.</a:t>
            </a:r>
          </a:p>
          <a:p>
            <a:r>
              <a:rPr lang="en-US"/>
              <a:t>EBDS:</a:t>
            </a:r>
          </a:p>
          <a:p>
            <a:r>
              <a:rPr lang="en-US"/>
              <a:t>https://www.gov.uk/government/news/chancellor-unveils-new-energy-bills-discount-scheme-for-businesses</a:t>
            </a:r>
          </a:p>
        </p:txBody>
      </p:sp>
      <p:sp>
        <p:nvSpPr>
          <p:cNvPr id="4" name="Slide Number Placeholder 3"/>
          <p:cNvSpPr>
            <a:spLocks noGrp="1"/>
          </p:cNvSpPr>
          <p:nvPr>
            <p:ph type="sldNum" sz="quarter" idx="5"/>
          </p:nvPr>
        </p:nvSpPr>
        <p:spPr/>
        <p:txBody>
          <a:bodyPr/>
          <a:lstStyle/>
          <a:p>
            <a:fld id="{26A93AA0-593E-4517-83EA-F64CAD561A75}" type="slidenum">
              <a:rPr lang="en-GB" smtClean="0"/>
              <a:t>40</a:t>
            </a:fld>
            <a:endParaRPr lang="en-GB"/>
          </a:p>
        </p:txBody>
      </p:sp>
    </p:spTree>
    <p:extLst>
      <p:ext uri="{BB962C8B-B14F-4D97-AF65-F5344CB8AC3E}">
        <p14:creationId xmlns:p14="http://schemas.microsoft.com/office/powerpoint/2010/main" val="1296923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26A93AA0-593E-4517-83EA-F64CAD561A75}" type="slidenum">
              <a:rPr lang="en-GB" smtClean="0"/>
              <a:t>11</a:t>
            </a:fld>
            <a:endParaRPr lang="en-GB"/>
          </a:p>
        </p:txBody>
      </p:sp>
    </p:spTree>
    <p:extLst>
      <p:ext uri="{BB962C8B-B14F-4D97-AF65-F5344CB8AC3E}">
        <p14:creationId xmlns:p14="http://schemas.microsoft.com/office/powerpoint/2010/main" val="3947730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13</a:t>
            </a:fld>
            <a:endParaRPr lang="en-GB"/>
          </a:p>
        </p:txBody>
      </p:sp>
    </p:spTree>
    <p:extLst>
      <p:ext uri="{BB962C8B-B14F-4D97-AF65-F5344CB8AC3E}">
        <p14:creationId xmlns:p14="http://schemas.microsoft.com/office/powerpoint/2010/main" val="23719207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evinox.co.uk/about-evinox/</a:t>
            </a:r>
          </a:p>
        </p:txBody>
      </p:sp>
      <p:sp>
        <p:nvSpPr>
          <p:cNvPr id="4" name="Slide Number Placeholder 3"/>
          <p:cNvSpPr>
            <a:spLocks noGrp="1"/>
          </p:cNvSpPr>
          <p:nvPr>
            <p:ph type="sldNum" sz="quarter" idx="5"/>
          </p:nvPr>
        </p:nvSpPr>
        <p:spPr/>
        <p:txBody>
          <a:bodyPr/>
          <a:lstStyle/>
          <a:p>
            <a:fld id="{26A93AA0-593E-4517-83EA-F64CAD561A75}" type="slidenum">
              <a:rPr lang="en-GB" smtClean="0"/>
              <a:t>15</a:t>
            </a:fld>
            <a:endParaRPr lang="en-GB"/>
          </a:p>
        </p:txBody>
      </p:sp>
    </p:spTree>
    <p:extLst>
      <p:ext uri="{BB962C8B-B14F-4D97-AF65-F5344CB8AC3E}">
        <p14:creationId xmlns:p14="http://schemas.microsoft.com/office/powerpoint/2010/main" val="32839796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16</a:t>
            </a:fld>
            <a:endParaRPr lang="en-GB"/>
          </a:p>
        </p:txBody>
      </p:sp>
    </p:spTree>
    <p:extLst>
      <p:ext uri="{BB962C8B-B14F-4D97-AF65-F5344CB8AC3E}">
        <p14:creationId xmlns:p14="http://schemas.microsoft.com/office/powerpoint/2010/main" val="2554474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iea.org/articles/more-flexibility-for-more-renewables-in-grid-connected-heat-supply</a:t>
            </a:r>
          </a:p>
          <a:p>
            <a:r>
              <a:rPr lang="en-US"/>
              <a:t>https://www.ait.ac.at/en/research-topics/efficiency-in-industrial-processes-systems/projects/thermaflex</a:t>
            </a:r>
          </a:p>
          <a:p>
            <a:r>
              <a:rPr lang="en-US"/>
              <a:t>https://greenenergylab.at/wp-content/uploads/2023/09/thermaflex-publizierbarer-endbericht-eng-barrierefrei-final.pdf</a:t>
            </a:r>
          </a:p>
        </p:txBody>
      </p:sp>
      <p:sp>
        <p:nvSpPr>
          <p:cNvPr id="4" name="Slide Number Placeholder 3"/>
          <p:cNvSpPr>
            <a:spLocks noGrp="1"/>
          </p:cNvSpPr>
          <p:nvPr>
            <p:ph type="sldNum" sz="quarter" idx="5"/>
          </p:nvPr>
        </p:nvSpPr>
        <p:spPr/>
        <p:txBody>
          <a:bodyPr/>
          <a:lstStyle/>
          <a:p>
            <a:fld id="{26A93AA0-593E-4517-83EA-F64CAD561A75}" type="slidenum">
              <a:rPr lang="en-GB" smtClean="0"/>
              <a:t>17</a:t>
            </a:fld>
            <a:endParaRPr lang="en-GB"/>
          </a:p>
        </p:txBody>
      </p:sp>
    </p:spTree>
    <p:extLst>
      <p:ext uri="{BB962C8B-B14F-4D97-AF65-F5344CB8AC3E}">
        <p14:creationId xmlns:p14="http://schemas.microsoft.com/office/powerpoint/2010/main" val="2865298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18</a:t>
            </a:fld>
            <a:endParaRPr lang="en-GB"/>
          </a:p>
        </p:txBody>
      </p:sp>
    </p:spTree>
    <p:extLst>
      <p:ext uri="{BB962C8B-B14F-4D97-AF65-F5344CB8AC3E}">
        <p14:creationId xmlns:p14="http://schemas.microsoft.com/office/powerpoint/2010/main" val="910577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envirodual.com/projects/life23-cet-dhc-enabling-strategies-and-investment-plans-for-efficient%2C-multi-energy-and-digitalised-dhc-%E2%80%93-enable-dhc</a:t>
            </a:r>
          </a:p>
          <a:p>
            <a:r>
              <a:rPr lang="en-US"/>
              <a:t>https://prod.euroheat.org/dhc/eu-projects/enable-dhc</a:t>
            </a:r>
          </a:p>
          <a:p>
            <a:endParaRPr lang="en-US"/>
          </a:p>
        </p:txBody>
      </p:sp>
      <p:sp>
        <p:nvSpPr>
          <p:cNvPr id="4" name="Slide Number Placeholder 3"/>
          <p:cNvSpPr>
            <a:spLocks noGrp="1"/>
          </p:cNvSpPr>
          <p:nvPr>
            <p:ph type="sldNum" sz="quarter" idx="5"/>
          </p:nvPr>
        </p:nvSpPr>
        <p:spPr/>
        <p:txBody>
          <a:bodyPr/>
          <a:lstStyle/>
          <a:p>
            <a:fld id="{26A93AA0-593E-4517-83EA-F64CAD561A75}" type="slidenum">
              <a:rPr lang="en-GB" smtClean="0"/>
              <a:t>19</a:t>
            </a:fld>
            <a:endParaRPr lang="en-GB"/>
          </a:p>
        </p:txBody>
      </p:sp>
    </p:spTree>
    <p:extLst>
      <p:ext uri="{BB962C8B-B14F-4D97-AF65-F5344CB8AC3E}">
        <p14:creationId xmlns:p14="http://schemas.microsoft.com/office/powerpoint/2010/main" val="7082951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82936-5546-1128-F078-7864F6D1CC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EBE7182-D3B0-17F9-790F-515C105A5B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8E570D5-F2B3-FB97-7822-D82B36F8B676}"/>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5" name="Footer Placeholder 4">
            <a:extLst>
              <a:ext uri="{FF2B5EF4-FFF2-40B4-BE49-F238E27FC236}">
                <a16:creationId xmlns:a16="http://schemas.microsoft.com/office/drawing/2014/main" id="{ACDA00F1-61D7-4328-D6F5-223E3E7D58D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8D562AC-7AA0-2591-0564-2AF34D44201D}"/>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2826808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5A963-B5B5-D4CF-5F79-7560927A2CC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9FAC420-CD9E-A76F-86D9-3C93523C025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61B735A-D733-5A73-9A42-153A68E90CAC}"/>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5" name="Footer Placeholder 4">
            <a:extLst>
              <a:ext uri="{FF2B5EF4-FFF2-40B4-BE49-F238E27FC236}">
                <a16:creationId xmlns:a16="http://schemas.microsoft.com/office/drawing/2014/main" id="{D4B36826-7567-B4C8-ECB6-293C6962184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6AF19D4-46C9-E0CE-B782-9F0143E465C2}"/>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25231472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A92291C-8A37-537E-DB9C-BDAE79D816A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93D1B8B-4BEC-1F0E-928D-EE5C5B5826E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1A71C1E-53E0-695E-4D51-688F3FEA7D9A}"/>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5" name="Footer Placeholder 4">
            <a:extLst>
              <a:ext uri="{FF2B5EF4-FFF2-40B4-BE49-F238E27FC236}">
                <a16:creationId xmlns:a16="http://schemas.microsoft.com/office/drawing/2014/main" id="{C9487D74-2774-75EE-742A-D4598F556E9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D16C5EA-42F3-F120-E7C7-3A2A4B6B0EDB}"/>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3347184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3499"/>
            <a:ext cx="12192000" cy="6921500"/>
          </a:xfrm>
          <a:prstGeom prst="rect">
            <a:avLst/>
          </a:prstGeom>
        </p:spPr>
      </p:pic>
      <p:sp>
        <p:nvSpPr>
          <p:cNvPr id="17" name="TextBox 16"/>
          <p:cNvSpPr txBox="1"/>
          <p:nvPr userDrawn="1"/>
        </p:nvSpPr>
        <p:spPr>
          <a:xfrm>
            <a:off x="370917" y="6357420"/>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5 UK Power Networks. All rights reserved</a:t>
            </a:r>
          </a:p>
        </p:txBody>
      </p:sp>
      <p:sp>
        <p:nvSpPr>
          <p:cNvPr id="18" name="Title 1"/>
          <p:cNvSpPr>
            <a:spLocks noGrp="1"/>
          </p:cNvSpPr>
          <p:nvPr>
            <p:ph type="title" hasCustomPrompt="1"/>
          </p:nvPr>
        </p:nvSpPr>
        <p:spPr>
          <a:xfrm>
            <a:off x="370917" y="3865190"/>
            <a:ext cx="5422913" cy="551591"/>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7" y="4440437"/>
            <a:ext cx="5033727" cy="451211"/>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189" indent="0">
              <a:buNone/>
              <a:defRPr sz="2000" b="1"/>
            </a:lvl2pPr>
            <a:lvl3pPr marL="914377" indent="0">
              <a:buNone/>
              <a:defRPr sz="1867"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resentation subtitle</a:t>
            </a:r>
          </a:p>
        </p:txBody>
      </p:sp>
      <p:cxnSp>
        <p:nvCxnSpPr>
          <p:cNvPr id="14" name="Straight Connector 13"/>
          <p:cNvCxnSpPr/>
          <p:nvPr userDrawn="1"/>
        </p:nvCxnSpPr>
        <p:spPr>
          <a:xfrm>
            <a:off x="370917" y="5378886"/>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7" y="4984549"/>
            <a:ext cx="5032375" cy="236097"/>
          </a:xfrm>
        </p:spPr>
        <p:txBody>
          <a:bodyPr>
            <a:normAutofit/>
          </a:bodyPr>
          <a:lstStyle>
            <a:lvl1pPr marL="0" indent="0">
              <a:buNone/>
              <a:defRPr sz="1467"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6" name="Picture 5">
            <a:extLst>
              <a:ext uri="{FF2B5EF4-FFF2-40B4-BE49-F238E27FC236}">
                <a16:creationId xmlns:a16="http://schemas.microsoft.com/office/drawing/2014/main" id="{83DA89E3-D1F5-4A12-AE55-CD21EECC6F9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63499"/>
            <a:ext cx="12192000" cy="3410692"/>
          </a:xfrm>
          <a:prstGeom prst="rect">
            <a:avLst/>
          </a:prstGeom>
        </p:spPr>
      </p:pic>
    </p:spTree>
    <p:extLst>
      <p:ext uri="{BB962C8B-B14F-4D97-AF65-F5344CB8AC3E}">
        <p14:creationId xmlns:p14="http://schemas.microsoft.com/office/powerpoint/2010/main" val="558693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lvl1pPr>
              <a:defRPr kumimoji="0" lang="en-GB" sz="2800" b="1" i="0" u="none" strike="noStrike" cap="none" spc="0" normalizeH="0" baseline="0">
                <a:ln>
                  <a:noFill/>
                </a:ln>
                <a:solidFill>
                  <a:srgbClr val="9C1420"/>
                </a:solidFill>
                <a:effectLst/>
                <a:uLnTx/>
                <a:uFillTx/>
                <a:latin typeface="Arial" panose="020B0604020202020204" pitchFamily="34" charset="0"/>
                <a:ea typeface="+mn-ea"/>
                <a:cs typeface="Arial" panose="020B0604020202020204" pitchFamily="34" charset="0"/>
              </a:defRPr>
            </a:lvl1pPr>
          </a:lstStyle>
          <a:p>
            <a:pPr lvl="0"/>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E88ACB5-7098-4673-8F56-DC1103233022}" type="datetime1">
              <a:rPr lang="en-GB" smtClean="0"/>
              <a:t>07/05/2025</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9027885" y="6360958"/>
            <a:ext cx="2743200" cy="365125"/>
          </a:xfrm>
          <a:prstGeom prst="rect">
            <a:avLst/>
          </a:prstGeom>
        </p:spPr>
        <p:txBody>
          <a:bodyPr/>
          <a:lstStyle/>
          <a:p>
            <a:fld id="{72F17264-F1F8-414E-A9D5-4C122FDA0C8E}" type="slidenum">
              <a:rPr lang="en-GB" smtClean="0"/>
              <a:t>‹#›</a:t>
            </a:fld>
            <a:endParaRPr lang="en-GB"/>
          </a:p>
        </p:txBody>
      </p:sp>
      <p:grpSp>
        <p:nvGrpSpPr>
          <p:cNvPr id="11" name="Group 10">
            <a:extLst>
              <a:ext uri="{FF2B5EF4-FFF2-40B4-BE49-F238E27FC236}">
                <a16:creationId xmlns:a16="http://schemas.microsoft.com/office/drawing/2014/main" id="{99E01BB2-EB7E-006C-CDF2-48C5FA5C3A02}"/>
              </a:ext>
            </a:extLst>
          </p:cNvPr>
          <p:cNvGrpSpPr/>
          <p:nvPr userDrawn="1"/>
        </p:nvGrpSpPr>
        <p:grpSpPr>
          <a:xfrm>
            <a:off x="8982420" y="31253"/>
            <a:ext cx="2755491" cy="233949"/>
            <a:chOff x="8982420" y="31253"/>
            <a:chExt cx="2755491" cy="233949"/>
          </a:xfrm>
        </p:grpSpPr>
        <p:grpSp>
          <p:nvGrpSpPr>
            <p:cNvPr id="12" name="Group 11">
              <a:extLst>
                <a:ext uri="{FF2B5EF4-FFF2-40B4-BE49-F238E27FC236}">
                  <a16:creationId xmlns:a16="http://schemas.microsoft.com/office/drawing/2014/main" id="{CB96DD80-21FD-55CA-CF97-AACC8EE08549}"/>
                </a:ext>
              </a:extLst>
            </p:cNvPr>
            <p:cNvGrpSpPr/>
            <p:nvPr userDrawn="1"/>
          </p:nvGrpSpPr>
          <p:grpSpPr>
            <a:xfrm>
              <a:off x="8982420" y="82165"/>
              <a:ext cx="1849326" cy="183037"/>
              <a:chOff x="8902592" y="101456"/>
              <a:chExt cx="1849326" cy="183037"/>
            </a:xfrm>
          </p:grpSpPr>
          <p:pic>
            <p:nvPicPr>
              <p:cNvPr id="14" name="Picture 13" descr="Distribution Network Operator | UK Power Networks">
                <a:extLst>
                  <a:ext uri="{FF2B5EF4-FFF2-40B4-BE49-F238E27FC236}">
                    <a16:creationId xmlns:a16="http://schemas.microsoft.com/office/drawing/2014/main" id="{065D5ABE-6406-8D5A-FACF-4BEFCD1552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02592" y="111249"/>
                <a:ext cx="514765" cy="15959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D257103D-52F8-5F09-49C0-59114D3D79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9534093" y="101456"/>
                <a:ext cx="611721" cy="18303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142B0F16-2610-B04C-49FF-D3C447B65C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10210662" y="131917"/>
                <a:ext cx="541256" cy="138923"/>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a:extLst>
                <a:ext uri="{FF2B5EF4-FFF2-40B4-BE49-F238E27FC236}">
                  <a16:creationId xmlns:a16="http://schemas.microsoft.com/office/drawing/2014/main" id="{6B91D7C4-6784-28E8-4025-7D3A1F291F03}"/>
                </a:ext>
              </a:extLst>
            </p:cNvPr>
            <p:cNvPicPr>
              <a:picLocks noChangeAspect="1"/>
            </p:cNvPicPr>
            <p:nvPr userDrawn="1"/>
          </p:nvPicPr>
          <p:blipFill rotWithShape="1">
            <a:blip r:embed="rId5"/>
            <a:srcRect t="32954" b="37500"/>
            <a:stretch/>
          </p:blipFill>
          <p:spPr>
            <a:xfrm>
              <a:off x="10896594" y="31253"/>
              <a:ext cx="841317" cy="233949"/>
            </a:xfrm>
            <a:prstGeom prst="rect">
              <a:avLst/>
            </a:prstGeom>
          </p:spPr>
        </p:pic>
      </p:grpSp>
    </p:spTree>
    <p:extLst>
      <p:ext uri="{BB962C8B-B14F-4D97-AF65-F5344CB8AC3E}">
        <p14:creationId xmlns:p14="http://schemas.microsoft.com/office/powerpoint/2010/main" val="28035833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193BA6E-79B0-A894-390C-9F659DDEF02A}"/>
              </a:ext>
            </a:extLst>
          </p:cNvPr>
          <p:cNvGraphicFramePr>
            <a:graphicFrameLocks noChangeAspect="1"/>
          </p:cNvGraphicFramePr>
          <p:nvPr userDrawn="1">
            <p:custDataLst>
              <p:tags r:id="rId1"/>
            </p:custDataLst>
            <p:extLst>
              <p:ext uri="{D42A27DB-BD31-4B8C-83A1-F6EECF244321}">
                <p14:modId xmlns:p14="http://schemas.microsoft.com/office/powerpoint/2010/main" val="31459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11" name="think-cell data - do not delete" hidden="1">
                        <a:extLst>
                          <a:ext uri="{FF2B5EF4-FFF2-40B4-BE49-F238E27FC236}">
                            <a16:creationId xmlns:a16="http://schemas.microsoft.com/office/drawing/2014/main" id="{7193BA6E-79B0-A894-390C-9F659DDEF0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7737A556-7522-A472-B4C0-209FFE32C21F}"/>
              </a:ext>
            </a:extLst>
          </p:cNvPr>
          <p:cNvGrpSpPr/>
          <p:nvPr userDrawn="1"/>
        </p:nvGrpSpPr>
        <p:grpSpPr>
          <a:xfrm>
            <a:off x="8982420" y="82165"/>
            <a:ext cx="1849326" cy="183037"/>
            <a:chOff x="8902592" y="101456"/>
            <a:chExt cx="1849326" cy="183037"/>
          </a:xfrm>
        </p:grpSpPr>
        <p:pic>
          <p:nvPicPr>
            <p:cNvPr id="8" name="Picture 7" descr="Distribution Network Operator | UK Power Networks">
              <a:extLst>
                <a:ext uri="{FF2B5EF4-FFF2-40B4-BE49-F238E27FC236}">
                  <a16:creationId xmlns:a16="http://schemas.microsoft.com/office/drawing/2014/main" id="{0CDC4A3B-3CA1-E600-8F87-0B25242C50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02592" y="111249"/>
              <a:ext cx="514765" cy="15959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5DF9B5C8-BC70-47C2-0CDD-734474F7E7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9534093" y="101456"/>
              <a:ext cx="611721" cy="18303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B59B86A9-71B9-7259-8C61-2B07C6DCA1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10210662" y="131917"/>
              <a:ext cx="541256" cy="138923"/>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Picture 11">
            <a:extLst>
              <a:ext uri="{FF2B5EF4-FFF2-40B4-BE49-F238E27FC236}">
                <a16:creationId xmlns:a16="http://schemas.microsoft.com/office/drawing/2014/main" id="{36E0E0CC-F7C8-B9FC-DC91-62195365AE91}"/>
              </a:ext>
            </a:extLst>
          </p:cNvPr>
          <p:cNvPicPr>
            <a:picLocks noChangeAspect="1"/>
          </p:cNvPicPr>
          <p:nvPr userDrawn="1"/>
        </p:nvPicPr>
        <p:blipFill rotWithShape="1">
          <a:blip r:embed="rId8"/>
          <a:srcRect t="32954" b="37500"/>
          <a:stretch/>
        </p:blipFill>
        <p:spPr>
          <a:xfrm>
            <a:off x="10896594" y="31253"/>
            <a:ext cx="841317" cy="233949"/>
          </a:xfrm>
          <a:prstGeom prst="rect">
            <a:avLst/>
          </a:prstGeom>
        </p:spPr>
      </p:pic>
    </p:spTree>
    <p:extLst>
      <p:ext uri="{BB962C8B-B14F-4D97-AF65-F5344CB8AC3E}">
        <p14:creationId xmlns:p14="http://schemas.microsoft.com/office/powerpoint/2010/main" val="1922812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sp>
        <p:nvSpPr>
          <p:cNvPr id="18" name="Title 1"/>
          <p:cNvSpPr>
            <a:spLocks noGrp="1"/>
          </p:cNvSpPr>
          <p:nvPr>
            <p:ph type="title" hasCustomPrompt="1"/>
          </p:nvPr>
        </p:nvSpPr>
        <p:spPr>
          <a:xfrm>
            <a:off x="370915" y="3865189"/>
            <a:ext cx="5422913" cy="551590"/>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5" y="4440437"/>
            <a:ext cx="5033727" cy="451210"/>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resentation subtitle</a:t>
            </a:r>
          </a:p>
        </p:txBody>
      </p:sp>
      <p:cxnSp>
        <p:nvCxnSpPr>
          <p:cNvPr id="14" name="Straight Connector 13"/>
          <p:cNvCxnSpPr/>
          <p:nvPr/>
        </p:nvCxnSpPr>
        <p:spPr>
          <a:xfrm>
            <a:off x="370915" y="5378885"/>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5" y="4984548"/>
            <a:ext cx="5032375" cy="236097"/>
          </a:xfrm>
        </p:spPr>
        <p:txBody>
          <a:bodyPr>
            <a:normAutofit/>
          </a:bodyPr>
          <a:lstStyle>
            <a:lvl1pPr marL="0" indent="0">
              <a:buNone/>
              <a:defRPr sz="1400"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sp>
        <p:nvSpPr>
          <p:cNvPr id="3" name="Rectangle 2">
            <a:extLst>
              <a:ext uri="{FF2B5EF4-FFF2-40B4-BE49-F238E27FC236}">
                <a16:creationId xmlns:a16="http://schemas.microsoft.com/office/drawing/2014/main" id="{31DA454E-29B9-9280-FF3B-718FCA174AB8}"/>
              </a:ext>
            </a:extLst>
          </p:cNvPr>
          <p:cNvSpPr/>
          <p:nvPr userDrawn="1"/>
        </p:nvSpPr>
        <p:spPr>
          <a:xfrm>
            <a:off x="9804801" y="5665076"/>
            <a:ext cx="2282096" cy="11140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7A189A12-4542-D6B5-F573-5E4ABAA644F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03204"/>
            <a:ext cx="12192000" cy="6959600"/>
          </a:xfrm>
          <a:prstGeom prst="rect">
            <a:avLst/>
          </a:prstGeom>
        </p:spPr>
      </p:pic>
    </p:spTree>
    <p:extLst>
      <p:ext uri="{BB962C8B-B14F-4D97-AF65-F5344CB8AC3E}">
        <p14:creationId xmlns:p14="http://schemas.microsoft.com/office/powerpoint/2010/main" val="2141388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3499"/>
            <a:ext cx="12192000" cy="6921500"/>
          </a:xfrm>
          <a:prstGeom prst="rect">
            <a:avLst/>
          </a:prstGeom>
        </p:spPr>
      </p:pic>
      <p:sp>
        <p:nvSpPr>
          <p:cNvPr id="17" name="TextBox 16"/>
          <p:cNvSpPr txBox="1"/>
          <p:nvPr userDrawn="1"/>
        </p:nvSpPr>
        <p:spPr>
          <a:xfrm>
            <a:off x="370917" y="6357420"/>
            <a:ext cx="4597325" cy="276999"/>
          </a:xfrm>
          <a:prstGeom prst="rect">
            <a:avLst/>
          </a:prstGeom>
          <a:noFill/>
        </p:spPr>
        <p:txBody>
          <a:bodyPr wrap="square" rtlCol="0">
            <a:spAutoFit/>
          </a:bodyPr>
          <a:lstStyle/>
          <a:p>
            <a:pPr algn="l"/>
            <a:r>
              <a:rPr lang="en-GB" sz="1200">
                <a:solidFill>
                  <a:schemeClr val="bg2">
                    <a:lumMod val="50000"/>
                  </a:schemeClr>
                </a:solidFill>
                <a:latin typeface="Arial" panose="020B0604020202020204" pitchFamily="34" charset="0"/>
                <a:cs typeface="Arial" panose="020B0604020202020204" pitchFamily="34" charset="0"/>
              </a:rPr>
              <a:t>© 2025 UK Power Networks. All rights reserved</a:t>
            </a:r>
          </a:p>
        </p:txBody>
      </p:sp>
      <p:sp>
        <p:nvSpPr>
          <p:cNvPr id="18" name="Title 1"/>
          <p:cNvSpPr>
            <a:spLocks noGrp="1"/>
          </p:cNvSpPr>
          <p:nvPr>
            <p:ph type="title" hasCustomPrompt="1"/>
          </p:nvPr>
        </p:nvSpPr>
        <p:spPr>
          <a:xfrm>
            <a:off x="370917" y="3865190"/>
            <a:ext cx="5422913" cy="551591"/>
          </a:xfrm>
        </p:spPr>
        <p:txBody>
          <a:bodyPr>
            <a:noAutofit/>
          </a:bodyPr>
          <a:lstStyle>
            <a:lvl1pPr>
              <a:defRPr sz="3200" b="1">
                <a:solidFill>
                  <a:srgbClr val="9C1521"/>
                </a:solidFill>
                <a:latin typeface="Arial" panose="020B0604020202020204" pitchFamily="34" charset="0"/>
                <a:cs typeface="Arial" panose="020B0604020202020204" pitchFamily="34" charset="0"/>
              </a:defRPr>
            </a:lvl1pPr>
          </a:lstStyle>
          <a:p>
            <a:r>
              <a:rPr lang="en-GB"/>
              <a:t>Presentation title</a:t>
            </a:r>
          </a:p>
        </p:txBody>
      </p:sp>
      <p:sp>
        <p:nvSpPr>
          <p:cNvPr id="19" name="Text Placeholder 2"/>
          <p:cNvSpPr>
            <a:spLocks noGrp="1"/>
          </p:cNvSpPr>
          <p:nvPr>
            <p:ph type="body" idx="1" hasCustomPrompt="1"/>
          </p:nvPr>
        </p:nvSpPr>
        <p:spPr>
          <a:xfrm>
            <a:off x="370917" y="4440437"/>
            <a:ext cx="5033727" cy="451211"/>
          </a:xfrm>
        </p:spPr>
        <p:txBody>
          <a:bodyPr anchor="b">
            <a:noAutofit/>
          </a:bodyPr>
          <a:lstStyle>
            <a:lvl1pPr marL="0" indent="0">
              <a:buNone/>
              <a:defRPr sz="2000" b="0" baseline="0">
                <a:solidFill>
                  <a:srgbClr val="9C1521"/>
                </a:solidFill>
                <a:latin typeface="Arial" panose="020B0604020202020204" pitchFamily="34" charset="0"/>
                <a:cs typeface="Arial" panose="020B0604020202020204" pitchFamily="34" charset="0"/>
              </a:defRPr>
            </a:lvl1pPr>
            <a:lvl2pPr marL="457189" indent="0">
              <a:buNone/>
              <a:defRPr sz="2000" b="1"/>
            </a:lvl2pPr>
            <a:lvl3pPr marL="914377" indent="0">
              <a:buNone/>
              <a:defRPr sz="1867"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resentation subtitle</a:t>
            </a:r>
          </a:p>
        </p:txBody>
      </p:sp>
      <p:cxnSp>
        <p:nvCxnSpPr>
          <p:cNvPr id="14" name="Straight Connector 13"/>
          <p:cNvCxnSpPr/>
          <p:nvPr userDrawn="1"/>
        </p:nvCxnSpPr>
        <p:spPr>
          <a:xfrm>
            <a:off x="370917" y="5378886"/>
            <a:ext cx="4118057" cy="14047"/>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hasCustomPrompt="1"/>
          </p:nvPr>
        </p:nvSpPr>
        <p:spPr>
          <a:xfrm>
            <a:off x="370917" y="4984549"/>
            <a:ext cx="5032375" cy="236097"/>
          </a:xfrm>
        </p:spPr>
        <p:txBody>
          <a:bodyPr>
            <a:normAutofit/>
          </a:bodyPr>
          <a:lstStyle>
            <a:lvl1pPr marL="0" indent="0">
              <a:buNone/>
              <a:defRPr sz="1467" b="0" baseline="0">
                <a:solidFill>
                  <a:schemeClr val="bg2">
                    <a:lumMod val="75000"/>
                  </a:schemeClr>
                </a:solidFill>
                <a:latin typeface="Arial" panose="020B0604020202020204" pitchFamily="34" charset="0"/>
                <a:cs typeface="Arial" panose="020B0604020202020204" pitchFamily="34" charset="0"/>
              </a:defRPr>
            </a:lvl1pPr>
          </a:lstStyle>
          <a:p>
            <a:pPr lvl="0"/>
            <a:r>
              <a:rPr lang="en-GB"/>
              <a:t>Name, title or other information</a:t>
            </a:r>
          </a:p>
        </p:txBody>
      </p:sp>
      <p:pic>
        <p:nvPicPr>
          <p:cNvPr id="6" name="Picture 5">
            <a:extLst>
              <a:ext uri="{FF2B5EF4-FFF2-40B4-BE49-F238E27FC236}">
                <a16:creationId xmlns:a16="http://schemas.microsoft.com/office/drawing/2014/main" id="{83DA89E3-D1F5-4A12-AE55-CD21EECC6F9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63499"/>
            <a:ext cx="12192000" cy="3410692"/>
          </a:xfrm>
          <a:prstGeom prst="rect">
            <a:avLst/>
          </a:prstGeom>
        </p:spPr>
      </p:pic>
    </p:spTree>
    <p:extLst>
      <p:ext uri="{BB962C8B-B14F-4D97-AF65-F5344CB8AC3E}">
        <p14:creationId xmlns:p14="http://schemas.microsoft.com/office/powerpoint/2010/main" val="31806839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lvl1pPr>
              <a:defRPr kumimoji="0" lang="en-GB" sz="2800" b="1" i="0" u="none" strike="noStrike" cap="none" spc="0" normalizeH="0" baseline="0">
                <a:ln>
                  <a:noFill/>
                </a:ln>
                <a:solidFill>
                  <a:srgbClr val="9C1420"/>
                </a:solidFill>
                <a:effectLst/>
                <a:uLnTx/>
                <a:uFillTx/>
                <a:latin typeface="Arial" panose="020B0604020202020204" pitchFamily="34" charset="0"/>
                <a:ea typeface="+mn-ea"/>
                <a:cs typeface="Arial" panose="020B0604020202020204" pitchFamily="34" charset="0"/>
              </a:defRPr>
            </a:lvl1pPr>
          </a:lstStyle>
          <a:p>
            <a:pPr lvl="0"/>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E88ACB5-7098-4673-8F56-DC1103233022}" type="datetime1">
              <a:rPr lang="en-GB" smtClean="0"/>
              <a:t>07/05/2025</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p:txBody>
          <a:bodyPr/>
          <a:lstStyle/>
          <a:p>
            <a:fld id="{72F17264-F1F8-414E-A9D5-4C122FDA0C8E}" type="slidenum">
              <a:rPr lang="en-GB" smtClean="0"/>
              <a:t>‹#›</a:t>
            </a:fld>
            <a:endParaRPr lang="en-GB"/>
          </a:p>
        </p:txBody>
      </p:sp>
      <p:grpSp>
        <p:nvGrpSpPr>
          <p:cNvPr id="11" name="Group 10">
            <a:extLst>
              <a:ext uri="{FF2B5EF4-FFF2-40B4-BE49-F238E27FC236}">
                <a16:creationId xmlns:a16="http://schemas.microsoft.com/office/drawing/2014/main" id="{11CE5CD3-0D1F-FE55-E7ED-88709A651741}"/>
              </a:ext>
            </a:extLst>
          </p:cNvPr>
          <p:cNvGrpSpPr/>
          <p:nvPr userDrawn="1"/>
        </p:nvGrpSpPr>
        <p:grpSpPr>
          <a:xfrm>
            <a:off x="8982420" y="31253"/>
            <a:ext cx="2755491" cy="233949"/>
            <a:chOff x="8982420" y="31253"/>
            <a:chExt cx="2755491" cy="233949"/>
          </a:xfrm>
        </p:grpSpPr>
        <p:grpSp>
          <p:nvGrpSpPr>
            <p:cNvPr id="12" name="Group 11">
              <a:extLst>
                <a:ext uri="{FF2B5EF4-FFF2-40B4-BE49-F238E27FC236}">
                  <a16:creationId xmlns:a16="http://schemas.microsoft.com/office/drawing/2014/main" id="{8BA56482-D97C-1B2C-A54C-56FA5126D6B6}"/>
                </a:ext>
              </a:extLst>
            </p:cNvPr>
            <p:cNvGrpSpPr/>
            <p:nvPr userDrawn="1"/>
          </p:nvGrpSpPr>
          <p:grpSpPr>
            <a:xfrm>
              <a:off x="8982420" y="82165"/>
              <a:ext cx="1849326" cy="183037"/>
              <a:chOff x="8902592" y="101456"/>
              <a:chExt cx="1849326" cy="183037"/>
            </a:xfrm>
          </p:grpSpPr>
          <p:pic>
            <p:nvPicPr>
              <p:cNvPr id="14" name="Picture 13" descr="Distribution Network Operator | UK Power Networks">
                <a:extLst>
                  <a:ext uri="{FF2B5EF4-FFF2-40B4-BE49-F238E27FC236}">
                    <a16:creationId xmlns:a16="http://schemas.microsoft.com/office/drawing/2014/main" id="{FF215287-5887-BC49-5690-F53281C4B3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02592" y="111249"/>
                <a:ext cx="514765" cy="15959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CF2A5FC4-2B09-1DD9-A236-3506C68F66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9534093" y="101456"/>
                <a:ext cx="611721" cy="18303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3A8B1E52-88AE-1AF4-DE44-BE32C4794D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10210662" y="131917"/>
                <a:ext cx="541256" cy="138923"/>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a:extLst>
                <a:ext uri="{FF2B5EF4-FFF2-40B4-BE49-F238E27FC236}">
                  <a16:creationId xmlns:a16="http://schemas.microsoft.com/office/drawing/2014/main" id="{1C787857-5104-FEAF-885B-6E5A2E6DDC4B}"/>
                </a:ext>
              </a:extLst>
            </p:cNvPr>
            <p:cNvPicPr>
              <a:picLocks noChangeAspect="1"/>
            </p:cNvPicPr>
            <p:nvPr userDrawn="1"/>
          </p:nvPicPr>
          <p:blipFill rotWithShape="1">
            <a:blip r:embed="rId5"/>
            <a:srcRect t="32954" b="37500"/>
            <a:stretch/>
          </p:blipFill>
          <p:spPr>
            <a:xfrm>
              <a:off x="10896594" y="31253"/>
              <a:ext cx="841317" cy="233949"/>
            </a:xfrm>
            <a:prstGeom prst="rect">
              <a:avLst/>
            </a:prstGeom>
          </p:spPr>
        </p:pic>
      </p:grpSp>
    </p:spTree>
    <p:extLst>
      <p:ext uri="{BB962C8B-B14F-4D97-AF65-F5344CB8AC3E}">
        <p14:creationId xmlns:p14="http://schemas.microsoft.com/office/powerpoint/2010/main" val="20408923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Header">
    <p:bg>
      <p:bgPr>
        <a:blipFill dpi="0" rotWithShape="0">
          <a:blip r:embed="rId2">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9304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C3CE55AE-00B0-4C6B-92B9-433156B97508}" type="datetime1">
              <a:rPr lang="en-GB" smtClean="0"/>
              <a:t>07/05/2025</a:t>
            </a:fld>
            <a:endParaRPr lang="en-GB"/>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p:txBody>
          <a:bodyPr/>
          <a:lstStyle/>
          <a:p>
            <a:fld id="{72F17264-F1F8-414E-A9D5-4C122FDA0C8E}" type="slidenum">
              <a:rPr lang="en-GB" smtClean="0"/>
              <a:t>‹#›</a:t>
            </a:fld>
            <a:endParaRPr lang="en-GB"/>
          </a:p>
        </p:txBody>
      </p:sp>
      <p:grpSp>
        <p:nvGrpSpPr>
          <p:cNvPr id="7" name="Group 6">
            <a:extLst>
              <a:ext uri="{FF2B5EF4-FFF2-40B4-BE49-F238E27FC236}">
                <a16:creationId xmlns:a16="http://schemas.microsoft.com/office/drawing/2014/main" id="{EAC62EB5-ED3C-1DC5-A81C-20F33C867257}"/>
              </a:ext>
            </a:extLst>
          </p:cNvPr>
          <p:cNvGrpSpPr/>
          <p:nvPr userDrawn="1"/>
        </p:nvGrpSpPr>
        <p:grpSpPr>
          <a:xfrm>
            <a:off x="8982420" y="31253"/>
            <a:ext cx="2755491" cy="233949"/>
            <a:chOff x="8982420" y="31253"/>
            <a:chExt cx="2755491" cy="233949"/>
          </a:xfrm>
        </p:grpSpPr>
        <p:grpSp>
          <p:nvGrpSpPr>
            <p:cNvPr id="8" name="Group 7">
              <a:extLst>
                <a:ext uri="{FF2B5EF4-FFF2-40B4-BE49-F238E27FC236}">
                  <a16:creationId xmlns:a16="http://schemas.microsoft.com/office/drawing/2014/main" id="{8522CA0E-963E-541F-480A-A7362AEED521}"/>
                </a:ext>
              </a:extLst>
            </p:cNvPr>
            <p:cNvGrpSpPr/>
            <p:nvPr userDrawn="1"/>
          </p:nvGrpSpPr>
          <p:grpSpPr>
            <a:xfrm>
              <a:off x="8982420" y="82165"/>
              <a:ext cx="1849326" cy="183037"/>
              <a:chOff x="8902592" y="101456"/>
              <a:chExt cx="1849326" cy="183037"/>
            </a:xfrm>
          </p:grpSpPr>
          <p:pic>
            <p:nvPicPr>
              <p:cNvPr id="10" name="Picture 9" descr="Distribution Network Operator | UK Power Networks">
                <a:extLst>
                  <a:ext uri="{FF2B5EF4-FFF2-40B4-BE49-F238E27FC236}">
                    <a16:creationId xmlns:a16="http://schemas.microsoft.com/office/drawing/2014/main" id="{54C26119-1146-A85D-05E4-A6522F26A0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02592" y="111249"/>
                <a:ext cx="514765" cy="1595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A48DFDD1-DA75-9C79-AB31-BA30011267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9534093" y="101456"/>
                <a:ext cx="611721" cy="18303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67343B1B-EF4A-7E82-926B-4C87218B25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10210662" y="131917"/>
                <a:ext cx="541256" cy="138923"/>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8">
              <a:extLst>
                <a:ext uri="{FF2B5EF4-FFF2-40B4-BE49-F238E27FC236}">
                  <a16:creationId xmlns:a16="http://schemas.microsoft.com/office/drawing/2014/main" id="{FDDAF78D-05CF-512B-A54F-21C4790ECD5F}"/>
                </a:ext>
              </a:extLst>
            </p:cNvPr>
            <p:cNvPicPr>
              <a:picLocks noChangeAspect="1"/>
            </p:cNvPicPr>
            <p:nvPr userDrawn="1"/>
          </p:nvPicPr>
          <p:blipFill rotWithShape="1">
            <a:blip r:embed="rId5"/>
            <a:srcRect t="32954" b="37500"/>
            <a:stretch/>
          </p:blipFill>
          <p:spPr>
            <a:xfrm>
              <a:off x="10896594" y="31253"/>
              <a:ext cx="841317" cy="233949"/>
            </a:xfrm>
            <a:prstGeom prst="rect">
              <a:avLst/>
            </a:prstGeom>
          </p:spPr>
        </p:pic>
      </p:grpSp>
    </p:spTree>
    <p:extLst>
      <p:ext uri="{BB962C8B-B14F-4D97-AF65-F5344CB8AC3E}">
        <p14:creationId xmlns:p14="http://schemas.microsoft.com/office/powerpoint/2010/main" val="1245934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54390-F53A-214C-151E-B84E50CB48D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5CD097D-7EFA-D0A2-1101-77482622AD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C6C4781-1D51-D36A-20E2-B6DA52BD5E8E}"/>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5" name="Footer Placeholder 4">
            <a:extLst>
              <a:ext uri="{FF2B5EF4-FFF2-40B4-BE49-F238E27FC236}">
                <a16:creationId xmlns:a16="http://schemas.microsoft.com/office/drawing/2014/main" id="{8682B02E-2EC9-0B2D-5372-26893790D04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5380C56-8676-C871-1601-4014C5F1A0DF}"/>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28348782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lvl1pPr>
              <a:defRPr kumimoji="0" lang="en-GB" sz="2800" b="1" i="0" u="none" strike="noStrike" cap="none" spc="0" normalizeH="0" baseline="0">
                <a:ln>
                  <a:noFill/>
                </a:ln>
                <a:solidFill>
                  <a:srgbClr val="9C1420"/>
                </a:solidFill>
                <a:effectLst/>
                <a:uLnTx/>
                <a:uFillTx/>
                <a:latin typeface="Arial" panose="020B0604020202020204" pitchFamily="34" charset="0"/>
                <a:ea typeface="+mn-ea"/>
                <a:cs typeface="Arial" panose="020B0604020202020204" pitchFamily="34" charset="0"/>
              </a:defRPr>
            </a:lvl1pPr>
          </a:lstStyle>
          <a:p>
            <a:pPr lvl="0"/>
            <a:r>
              <a:rPr lang="en-US"/>
              <a:t>Click to edit Master title style</a:t>
            </a:r>
            <a:endParaRPr lang="en-GB"/>
          </a:p>
        </p:txBody>
      </p:sp>
      <p:sp>
        <p:nvSpPr>
          <p:cNvPr id="6" name="Slide Number Placeholder 5"/>
          <p:cNvSpPr>
            <a:spLocks noGrp="1"/>
          </p:cNvSpPr>
          <p:nvPr>
            <p:ph type="sldNum" sz="quarter" idx="12"/>
          </p:nvPr>
        </p:nvSpPr>
        <p:spPr>
          <a:xfrm>
            <a:off x="9027885" y="6360958"/>
            <a:ext cx="2743200" cy="365125"/>
          </a:xfrm>
          <a:prstGeom prst="rect">
            <a:avLst/>
          </a:prstGeom>
        </p:spPr>
        <p:txBody>
          <a:bodyPr/>
          <a:lstStyle/>
          <a:p>
            <a:fld id="{72F17264-F1F8-414E-A9D5-4C122FDA0C8E}" type="slidenum">
              <a:rPr lang="en-GB" smtClean="0"/>
              <a:t>‹#›</a:t>
            </a:fld>
            <a:endParaRPr lang="en-GB"/>
          </a:p>
        </p:txBody>
      </p:sp>
    </p:spTree>
    <p:extLst>
      <p:ext uri="{BB962C8B-B14F-4D97-AF65-F5344CB8AC3E}">
        <p14:creationId xmlns:p14="http://schemas.microsoft.com/office/powerpoint/2010/main" val="17845750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F1F0F-1095-52E4-885A-EB14C04244E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452124B-6219-CAEC-D067-5808C44DEE0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DFAECF0-8AD8-C9A7-B05D-06DF36CE7C19}"/>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5" name="Footer Placeholder 4">
            <a:extLst>
              <a:ext uri="{FF2B5EF4-FFF2-40B4-BE49-F238E27FC236}">
                <a16:creationId xmlns:a16="http://schemas.microsoft.com/office/drawing/2014/main" id="{C4E96F07-5E0B-A925-51DA-004EF52B8BE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51AA854-8F2A-6663-CF1A-D3118D4459C2}"/>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3841540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31DA2-F1A6-942B-CE6D-A42F623D6F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E7E0E4F-3B1C-C741-EF02-37DFC1DAD71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6E633EC-7584-A10A-E27E-E1C67AF7CB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7D5A0D2-B941-98B2-8ED1-1A8C655F439E}"/>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6" name="Footer Placeholder 5">
            <a:extLst>
              <a:ext uri="{FF2B5EF4-FFF2-40B4-BE49-F238E27FC236}">
                <a16:creationId xmlns:a16="http://schemas.microsoft.com/office/drawing/2014/main" id="{58D21ACE-A69F-9E8F-17DD-2C4FEA5735F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A3FC90A-AF90-1660-2946-F6B4C9457F71}"/>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330667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F755C-191B-78A6-6A09-34E03505C71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8D47B6E-A45F-B520-96E9-D1FA94E3A7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38F2A1-AC0D-B9C4-1FC1-52CA0A3287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EAC8593-22A6-F6EB-53FC-3A1E5B38CC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10CA4A5-F3EB-0065-9DA9-1249A8ACDD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762C5EB-40B9-CCD7-9DF5-BEA5527829EC}"/>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8" name="Footer Placeholder 7">
            <a:extLst>
              <a:ext uri="{FF2B5EF4-FFF2-40B4-BE49-F238E27FC236}">
                <a16:creationId xmlns:a16="http://schemas.microsoft.com/office/drawing/2014/main" id="{21AC2816-EA9E-89AE-CD6F-D681109C9AC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01BC1D5-DC86-E70F-29AE-B4174E4A7323}"/>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585485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5475D-E97B-A831-C0EA-BB7FCE1DDBB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11013D9-C54E-49B8-F710-6CA809A2EC91}"/>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4" name="Footer Placeholder 3">
            <a:extLst>
              <a:ext uri="{FF2B5EF4-FFF2-40B4-BE49-F238E27FC236}">
                <a16:creationId xmlns:a16="http://schemas.microsoft.com/office/drawing/2014/main" id="{66872D59-F513-4770-3F64-D1F5DDE78E4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5CC20CD-900B-18E4-104D-879747CCA66D}"/>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58802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434809-54C0-C559-44D2-789CF8D8F656}"/>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3" name="Footer Placeholder 2">
            <a:extLst>
              <a:ext uri="{FF2B5EF4-FFF2-40B4-BE49-F238E27FC236}">
                <a16:creationId xmlns:a16="http://schemas.microsoft.com/office/drawing/2014/main" id="{B918DE63-53D4-0EB9-15CB-8C1E1A0449C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3B5D2DB-C458-6DD5-72FD-6D57AD8E5848}"/>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28971361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10C2F-B08F-A842-7A55-39FA5820CB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DE344C4-4160-187B-9CB1-B81681A8F85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DD3FCB9-FC63-D1A1-12CB-DA41714E8D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799DEC-A26F-1E39-B2E5-9E54F24582B3}"/>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6" name="Footer Placeholder 5">
            <a:extLst>
              <a:ext uri="{FF2B5EF4-FFF2-40B4-BE49-F238E27FC236}">
                <a16:creationId xmlns:a16="http://schemas.microsoft.com/office/drawing/2014/main" id="{3470BA2A-25A9-4462-68F8-8E9D0B8A920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0E9F542-8149-67CA-55A7-410D27994548}"/>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2194502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A6713-D0BD-8014-955C-D4CCD216BC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6741B7B-5C98-0050-3973-94AAE9BAB4C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E8BE185-29F9-E108-915F-63DB174304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C65C4E-6462-3040-AAF7-460AC8A455C8}"/>
              </a:ext>
            </a:extLst>
          </p:cNvPr>
          <p:cNvSpPr>
            <a:spLocks noGrp="1"/>
          </p:cNvSpPr>
          <p:nvPr>
            <p:ph type="dt" sz="half" idx="10"/>
          </p:nvPr>
        </p:nvSpPr>
        <p:spPr/>
        <p:txBody>
          <a:bodyPr/>
          <a:lstStyle/>
          <a:p>
            <a:fld id="{8CBEC6A9-8247-4DF1-A1A2-9AF5E8B81D2B}" type="datetimeFigureOut">
              <a:rPr lang="en-GB" smtClean="0"/>
              <a:t>07/05/2025</a:t>
            </a:fld>
            <a:endParaRPr lang="en-GB"/>
          </a:p>
        </p:txBody>
      </p:sp>
      <p:sp>
        <p:nvSpPr>
          <p:cNvPr id="6" name="Footer Placeholder 5">
            <a:extLst>
              <a:ext uri="{FF2B5EF4-FFF2-40B4-BE49-F238E27FC236}">
                <a16:creationId xmlns:a16="http://schemas.microsoft.com/office/drawing/2014/main" id="{393E3012-CC34-A852-65D5-ADA6D009D95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C149BDC-4350-0760-CD93-18E52F17EF9F}"/>
              </a:ext>
            </a:extLst>
          </p:cNvPr>
          <p:cNvSpPr>
            <a:spLocks noGrp="1"/>
          </p:cNvSpPr>
          <p:nvPr>
            <p:ph type="sldNum" sz="quarter" idx="12"/>
          </p:nvPr>
        </p:nvSpPr>
        <p:spPr/>
        <p:txBody>
          <a:bodyPr/>
          <a:lstStyle/>
          <a:p>
            <a:fld id="{8CA6141B-FD60-4F46-8A4D-7DC0252C1F5B}" type="slidenum">
              <a:rPr lang="en-GB" smtClean="0"/>
              <a:t>‹#›</a:t>
            </a:fld>
            <a:endParaRPr lang="en-GB"/>
          </a:p>
        </p:txBody>
      </p:sp>
    </p:spTree>
    <p:extLst>
      <p:ext uri="{BB962C8B-B14F-4D97-AF65-F5344CB8AC3E}">
        <p14:creationId xmlns:p14="http://schemas.microsoft.com/office/powerpoint/2010/main" val="11996899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15.xml"/><Relationship Id="rId7" Type="http://schemas.openxmlformats.org/officeDocument/2006/relationships/oleObject" Target="../embeddings/oleObject2.bin"/><Relationship Id="rId12" Type="http://schemas.openxmlformats.org/officeDocument/2006/relationships/image" Target="../media/image8.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3.xml"/><Relationship Id="rId11" Type="http://schemas.openxmlformats.org/officeDocument/2006/relationships/image" Target="../media/image7.png"/><Relationship Id="rId5" Type="http://schemas.openxmlformats.org/officeDocument/2006/relationships/theme" Target="../theme/theme2.xml"/><Relationship Id="rId10" Type="http://schemas.openxmlformats.org/officeDocument/2006/relationships/image" Target="../media/image6.png"/><Relationship Id="rId4" Type="http://schemas.openxmlformats.org/officeDocument/2006/relationships/slideLayout" Target="../slideLayouts/slideLayout16.xml"/><Relationship Id="rId9"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19.xml"/><Relationship Id="rId7" Type="http://schemas.openxmlformats.org/officeDocument/2006/relationships/oleObject" Target="../embeddings/oleObject4.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5.xml"/><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7277FA9-D597-375D-3654-4865AC6F1C60}"/>
              </a:ext>
            </a:extLst>
          </p:cNvPr>
          <p:cNvGraphicFramePr>
            <a:graphicFrameLocks noChangeAspect="1"/>
          </p:cNvGraphicFramePr>
          <p:nvPr userDrawn="1">
            <p:custDataLst>
              <p:tags r:id="rId14"/>
            </p:custDataLst>
            <p:extLst>
              <p:ext uri="{D42A27DB-BD31-4B8C-83A1-F6EECF244321}">
                <p14:modId xmlns:p14="http://schemas.microsoft.com/office/powerpoint/2010/main" val="2439379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6" imgH="426" progId="TCLayout.ActiveDocument.1">
                  <p:embed/>
                </p:oleObj>
              </mc:Choice>
              <mc:Fallback>
                <p:oleObj name="think-cell Slide" r:id="rId15" imgW="426" imgH="426" progId="TCLayout.ActiveDocument.1">
                  <p:embed/>
                  <p:pic>
                    <p:nvPicPr>
                      <p:cNvPr id="8" name="think-cell data - do not delete" hidden="1">
                        <a:extLst>
                          <a:ext uri="{FF2B5EF4-FFF2-40B4-BE49-F238E27FC236}">
                            <a16:creationId xmlns:a16="http://schemas.microsoft.com/office/drawing/2014/main" id="{47277FA9-D597-375D-3654-4865AC6F1C6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E6B8197-5962-BA09-4060-CB73AAEF005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C746A9A-9EBF-7BF4-9BBE-038A14C13F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9A6D720-780C-313C-5022-A021481638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CBEC6A9-8247-4DF1-A1A2-9AF5E8B81D2B}" type="datetimeFigureOut">
              <a:rPr lang="en-GB" smtClean="0"/>
              <a:t>07/05/2025</a:t>
            </a:fld>
            <a:endParaRPr lang="en-GB"/>
          </a:p>
        </p:txBody>
      </p:sp>
      <p:sp>
        <p:nvSpPr>
          <p:cNvPr id="5" name="Footer Placeholder 4">
            <a:extLst>
              <a:ext uri="{FF2B5EF4-FFF2-40B4-BE49-F238E27FC236}">
                <a16:creationId xmlns:a16="http://schemas.microsoft.com/office/drawing/2014/main" id="{58F1EEDB-77A3-AAD7-9772-0461FF56609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FB24A2E0-C233-313B-2419-8F48139F79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CA6141B-FD60-4F46-8A4D-7DC0252C1F5B}" type="slidenum">
              <a:rPr lang="en-GB" smtClean="0"/>
              <a:t>‹#›</a:t>
            </a:fld>
            <a:endParaRPr lang="en-GB"/>
          </a:p>
        </p:txBody>
      </p:sp>
    </p:spTree>
    <p:extLst>
      <p:ext uri="{BB962C8B-B14F-4D97-AF65-F5344CB8AC3E}">
        <p14:creationId xmlns:p14="http://schemas.microsoft.com/office/powerpoint/2010/main" val="906618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FA50C4F-5F82-C1AD-61A2-98E4E42F1C54}"/>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6FA50C4F-5F82-C1AD-61A2-98E4E42F1C5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6959" y="539978"/>
            <a:ext cx="11304127" cy="523221"/>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rgbClr val="9C1420"/>
              </a:solidFill>
              <a:effectLst/>
              <a:uLnTx/>
              <a:uFillTx/>
              <a:latin typeface="Arial" panose="020B0604020202020204" pitchFamily="34" charset="0"/>
              <a:ea typeface="+mn-ea"/>
              <a:cs typeface="Arial" panose="020B0604020202020204" pitchFamily="34" charset="0"/>
            </a:endParaRPr>
          </a:p>
        </p:txBody>
      </p:sp>
      <p:sp>
        <p:nvSpPr>
          <p:cNvPr id="3" name="Text Placeholder 2"/>
          <p:cNvSpPr>
            <a:spLocks noGrp="1"/>
          </p:cNvSpPr>
          <p:nvPr>
            <p:ph type="body" idx="1"/>
          </p:nvPr>
        </p:nvSpPr>
        <p:spPr>
          <a:xfrm>
            <a:off x="466958" y="1412868"/>
            <a:ext cx="1130412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p:cNvSpPr/>
          <p:nvPr/>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 name="Group 4">
            <a:extLst>
              <a:ext uri="{FF2B5EF4-FFF2-40B4-BE49-F238E27FC236}">
                <a16:creationId xmlns:a16="http://schemas.microsoft.com/office/drawing/2014/main" id="{C5EA8D98-42E3-59B9-60DB-B861A96670F0}"/>
              </a:ext>
            </a:extLst>
          </p:cNvPr>
          <p:cNvGrpSpPr/>
          <p:nvPr userDrawn="1"/>
        </p:nvGrpSpPr>
        <p:grpSpPr>
          <a:xfrm>
            <a:off x="8982420" y="31253"/>
            <a:ext cx="2755491" cy="233949"/>
            <a:chOff x="8982420" y="31253"/>
            <a:chExt cx="2755491" cy="233949"/>
          </a:xfrm>
        </p:grpSpPr>
        <p:grpSp>
          <p:nvGrpSpPr>
            <p:cNvPr id="6" name="Group 5">
              <a:extLst>
                <a:ext uri="{FF2B5EF4-FFF2-40B4-BE49-F238E27FC236}">
                  <a16:creationId xmlns:a16="http://schemas.microsoft.com/office/drawing/2014/main" id="{13622F2C-852A-D1E9-D07F-28CE261CF040}"/>
                </a:ext>
              </a:extLst>
            </p:cNvPr>
            <p:cNvGrpSpPr/>
            <p:nvPr userDrawn="1"/>
          </p:nvGrpSpPr>
          <p:grpSpPr>
            <a:xfrm>
              <a:off x="8982420" y="82165"/>
              <a:ext cx="1849326" cy="183037"/>
              <a:chOff x="8902592" y="101456"/>
              <a:chExt cx="1849326" cy="183037"/>
            </a:xfrm>
          </p:grpSpPr>
          <p:pic>
            <p:nvPicPr>
              <p:cNvPr id="8" name="Picture 7" descr="Distribution Network Operator | UK Power Networks">
                <a:extLst>
                  <a:ext uri="{FF2B5EF4-FFF2-40B4-BE49-F238E27FC236}">
                    <a16:creationId xmlns:a16="http://schemas.microsoft.com/office/drawing/2014/main" id="{A07B9621-D9D1-4A34-8CB3-6F2481ADBC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02592" y="111249"/>
                <a:ext cx="514765" cy="1595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0EB7C556-D8AE-379B-004B-F3876A1ABB5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p:blipFill>
            <p:spPr bwMode="auto">
              <a:xfrm>
                <a:off x="9534093" y="101456"/>
                <a:ext cx="611721" cy="18303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58DEBA6F-52F6-68CC-B0DC-AB8C0193BB6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p:blipFill>
            <p:spPr bwMode="auto">
              <a:xfrm>
                <a:off x="10210662" y="131917"/>
                <a:ext cx="541256" cy="138923"/>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6">
              <a:extLst>
                <a:ext uri="{FF2B5EF4-FFF2-40B4-BE49-F238E27FC236}">
                  <a16:creationId xmlns:a16="http://schemas.microsoft.com/office/drawing/2014/main" id="{231C5047-5A78-4ED1-91E1-460EE6A9B6F0}"/>
                </a:ext>
              </a:extLst>
            </p:cNvPr>
            <p:cNvPicPr>
              <a:picLocks noChangeAspect="1"/>
            </p:cNvPicPr>
            <p:nvPr userDrawn="1"/>
          </p:nvPicPr>
          <p:blipFill rotWithShape="1">
            <a:blip r:embed="rId12"/>
            <a:srcRect t="32954" b="37500"/>
            <a:stretch/>
          </p:blipFill>
          <p:spPr>
            <a:xfrm>
              <a:off x="10896594" y="31253"/>
              <a:ext cx="841317" cy="233949"/>
            </a:xfrm>
            <a:prstGeom prst="rect">
              <a:avLst/>
            </a:prstGeom>
          </p:spPr>
        </p:pic>
      </p:grpSp>
    </p:spTree>
    <p:extLst>
      <p:ext uri="{BB962C8B-B14F-4D97-AF65-F5344CB8AC3E}">
        <p14:creationId xmlns:p14="http://schemas.microsoft.com/office/powerpoint/2010/main" val="187686240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hf hdr="0" ftr="0" dt="0"/>
  <p:txStyles>
    <p:titleStyle>
      <a:lvl1pPr marL="0" marR="0" indent="0" algn="l" defTabSz="914400" rtl="0" eaLnBrk="1" fontAlgn="auto" latinLnBrk="0" hangingPunct="1">
        <a:lnSpc>
          <a:spcPct val="100000"/>
        </a:lnSpc>
        <a:spcBef>
          <a:spcPts val="0"/>
        </a:spcBef>
        <a:spcAft>
          <a:spcPts val="0"/>
        </a:spcAft>
        <a:buClrTx/>
        <a:buSzTx/>
        <a:buFontTx/>
        <a:buNone/>
        <a:tabLst/>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FA50C4F-5F82-C1AD-61A2-98E4E42F1C54}"/>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6FA50C4F-5F82-C1AD-61A2-98E4E42F1C5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6959" y="539978"/>
            <a:ext cx="11304127" cy="523221"/>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rgbClr val="9C1420"/>
              </a:solidFill>
              <a:effectLst/>
              <a:uLnTx/>
              <a:uFillTx/>
              <a:latin typeface="Arial" panose="020B0604020202020204" pitchFamily="34" charset="0"/>
              <a:ea typeface="+mn-ea"/>
              <a:cs typeface="Arial" panose="020B0604020202020204" pitchFamily="34" charset="0"/>
            </a:endParaRPr>
          </a:p>
        </p:txBody>
      </p:sp>
      <p:sp>
        <p:nvSpPr>
          <p:cNvPr id="3" name="Text Placeholder 2"/>
          <p:cNvSpPr>
            <a:spLocks noGrp="1"/>
          </p:cNvSpPr>
          <p:nvPr>
            <p:ph type="body" idx="1"/>
          </p:nvPr>
        </p:nvSpPr>
        <p:spPr>
          <a:xfrm>
            <a:off x="466958" y="1412868"/>
            <a:ext cx="1130412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027885" y="63609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F17264-F1F8-414E-A9D5-4C122FDA0C8E}" type="slidenum">
              <a:rPr lang="en-GB" smtClean="0"/>
              <a:t>‹#›</a:t>
            </a:fld>
            <a:endParaRPr lang="en-GB"/>
          </a:p>
        </p:txBody>
      </p:sp>
      <p:sp>
        <p:nvSpPr>
          <p:cNvPr id="9" name="Rectangle 8"/>
          <p:cNvSpPr/>
          <p:nvPr userDrawn="1"/>
        </p:nvSpPr>
        <p:spPr>
          <a:xfrm flipV="1">
            <a:off x="466960" y="351238"/>
            <a:ext cx="11304126" cy="45719"/>
          </a:xfrm>
          <a:prstGeom prst="rect">
            <a:avLst/>
          </a:prstGeom>
          <a:gradFill>
            <a:gsLst>
              <a:gs pos="0">
                <a:srgbClr val="F7941E"/>
              </a:gs>
              <a:gs pos="100000">
                <a:srgbClr val="BA211E"/>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p:cNvCxnSpPr/>
          <p:nvPr/>
        </p:nvCxnSpPr>
        <p:spPr>
          <a:xfrm>
            <a:off x="387430" y="6549083"/>
            <a:ext cx="8600840" cy="17190"/>
          </a:xfrm>
          <a:prstGeom prst="line">
            <a:avLst/>
          </a:prstGeom>
          <a:ln w="12700">
            <a:solidFill>
              <a:srgbClr val="F7941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2973635"/>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hf hdr="0" ftr="0" dt="0"/>
  <p:txStyles>
    <p:titleStyle>
      <a:lvl1pPr marL="0" marR="0" indent="0" algn="l" defTabSz="914400" rtl="0" eaLnBrk="1" fontAlgn="auto" latinLnBrk="0" hangingPunct="1">
        <a:lnSpc>
          <a:spcPct val="100000"/>
        </a:lnSpc>
        <a:spcBef>
          <a:spcPts val="0"/>
        </a:spcBef>
        <a:spcAft>
          <a:spcPts val="0"/>
        </a:spcAft>
        <a:buClrTx/>
        <a:buSzTx/>
        <a:buFontTx/>
        <a:buNone/>
        <a:tabLst/>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2.emf"/><Relationship Id="rId10" Type="http://schemas.openxmlformats.org/officeDocument/2006/relationships/image" Target="../media/image13.png"/><Relationship Id="rId4" Type="http://schemas.openxmlformats.org/officeDocument/2006/relationships/oleObject" Target="../embeddings/oleObject5.bin"/><Relationship Id="rId9" Type="http://schemas.openxmlformats.org/officeDocument/2006/relationships/hyperlink" Target="https://www.guidehouse.co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3.xml"/><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slideLayout" Target="../slideLayouts/slideLayout17.xml"/><Relationship Id="rId1" Type="http://schemas.openxmlformats.org/officeDocument/2006/relationships/tags" Target="../tags/tag23.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emf"/><Relationship Id="rId10" Type="http://schemas.openxmlformats.org/officeDocument/2006/relationships/image" Target="../media/image24.png"/><Relationship Id="rId4" Type="http://schemas.openxmlformats.org/officeDocument/2006/relationships/oleObject" Target="../embeddings/oleObject12.bin"/><Relationship Id="rId9" Type="http://schemas.openxmlformats.org/officeDocument/2006/relationships/image" Target="../media/image23.svg"/></Relationships>
</file>

<file path=ppt/slides/_rels/slide12.xml.rels><?xml version="1.0" encoding="UTF-8" standalone="yes"?>
<Relationships xmlns="http://schemas.openxmlformats.org/package/2006/relationships"><Relationship Id="rId8" Type="http://schemas.openxmlformats.org/officeDocument/2006/relationships/hyperlink" Target="https://www.ait.ac.at/en/research-topics/efficiency-in-industrial-processes-systems/projects/thermaflex" TargetMode="External"/><Relationship Id="rId13" Type="http://schemas.openxmlformats.org/officeDocument/2006/relationships/hyperlink" Target="https://prod.euroheat.org/dhc/eu-projects/uses-4-heat" TargetMode="External"/><Relationship Id="rId3" Type="http://schemas.openxmlformats.org/officeDocument/2006/relationships/notesSlide" Target="../notesSlides/notesSlide4.xml"/><Relationship Id="rId7" Type="http://schemas.openxmlformats.org/officeDocument/2006/relationships/hyperlink" Target="https://es.catapult.org.uk/report/storage-and-flexibility-thermal-energy-storage-for-heat-networks/" TargetMode="External"/><Relationship Id="rId12" Type="http://schemas.openxmlformats.org/officeDocument/2006/relationships/hyperlink" Target="https://prod.euroheat.org/dhc/eu-projects/treasure" TargetMode="External"/><Relationship Id="rId2" Type="http://schemas.openxmlformats.org/officeDocument/2006/relationships/slideLayout" Target="../slideLayouts/slideLayout17.xml"/><Relationship Id="rId1" Type="http://schemas.openxmlformats.org/officeDocument/2006/relationships/tags" Target="../tags/tag24.xml"/><Relationship Id="rId6" Type="http://schemas.openxmlformats.org/officeDocument/2006/relationships/hyperlink" Target="https://iuk-business-connect.org.uk/projects/pfer/heat-networks-as-flexible-grid-assets/" TargetMode="External"/><Relationship Id="rId11" Type="http://schemas.openxmlformats.org/officeDocument/2006/relationships/hyperlink" Target="https://prod.euroheat.org/dhc/eu-projects/thunder-t-hermochemical-storage-utilization-e-nabling-data-centre-seasonal-energy-recovery" TargetMode="External"/><Relationship Id="rId5" Type="http://schemas.openxmlformats.org/officeDocument/2006/relationships/image" Target="../media/image1.emf"/><Relationship Id="rId15" Type="http://schemas.openxmlformats.org/officeDocument/2006/relationships/hyperlink" Target="https://prod.euroheat.org/dhc/eu-projects/senergy-nets" TargetMode="External"/><Relationship Id="rId10" Type="http://schemas.openxmlformats.org/officeDocument/2006/relationships/hyperlink" Target="https://prod.euroheat.org/dhc/eu-projects/enable-dhc" TargetMode="External"/><Relationship Id="rId4" Type="http://schemas.openxmlformats.org/officeDocument/2006/relationships/oleObject" Target="../embeddings/oleObject13.bin"/><Relationship Id="rId9" Type="http://schemas.openxmlformats.org/officeDocument/2006/relationships/hyperlink" Target="https://smarter.energynetworks.org/projects/nia_ukpn0090/" TargetMode="External"/><Relationship Id="rId14" Type="http://schemas.openxmlformats.org/officeDocument/2006/relationships/hyperlink" Target="https://prod.euroheat.org/dhc/eu-projects/re-peak"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flexitricity.com/resources/press-release/gateshead-district-energy-project-earns-1million-boost-demand" TargetMode="External"/><Relationship Id="rId3" Type="http://schemas.openxmlformats.org/officeDocument/2006/relationships/oleObject" Target="../embeddings/oleObject14.bin"/><Relationship Id="rId7" Type="http://schemas.openxmlformats.org/officeDocument/2006/relationships/hyperlink" Target="https://www.flexitricity.com/blog/energy-efficency/importance-flexible-heat-networks-meeting-our-2050" TargetMode="External"/><Relationship Id="rId12" Type="http://schemas.openxmlformats.org/officeDocument/2006/relationships/hyperlink" Target="https://www.nationalgrid.co.uk/projects/equinox-equitable-novel-flexibility-exchange" TargetMode="External"/><Relationship Id="rId2" Type="http://schemas.openxmlformats.org/officeDocument/2006/relationships/slideLayout" Target="../slideLayouts/slideLayout17.xml"/><Relationship Id="rId1" Type="http://schemas.openxmlformats.org/officeDocument/2006/relationships/tags" Target="../tags/tag25.xml"/><Relationship Id="rId6" Type="http://schemas.openxmlformats.org/officeDocument/2006/relationships/hyperlink" Target="https://prod.euroheat.org/dhc/eu-projects/magnitude" TargetMode="External"/><Relationship Id="rId11" Type="http://schemas.openxmlformats.org/officeDocument/2006/relationships/hyperlink" Target="https://bura.brunel.ac.uk/bitstream/2438/27523/1/FullText.pdf" TargetMode="External"/><Relationship Id="rId5" Type="http://schemas.openxmlformats.org/officeDocument/2006/relationships/hyperlink" Target="https://www.flexitricity.com/resources/case-studies/aberdeen-heat-power-pioneering-district-heating-project-uses-capacity-market-revenue-support-their-mission-alleviating-fuel-poverty" TargetMode="External"/><Relationship Id="rId10" Type="http://schemas.openxmlformats.org/officeDocument/2006/relationships/hyperlink" Target="https://flexisync.eu/" TargetMode="External"/><Relationship Id="rId4" Type="http://schemas.openxmlformats.org/officeDocument/2006/relationships/image" Target="../media/image1.emf"/><Relationship Id="rId9" Type="http://schemas.openxmlformats.org/officeDocument/2006/relationships/hyperlink" Target="https://heatpumpingtechnologies.org/annex57/"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24.png"/><Relationship Id="rId3" Type="http://schemas.openxmlformats.org/officeDocument/2006/relationships/notesSlide" Target="../notesSlides/notesSlide5.xml"/><Relationship Id="rId7" Type="http://schemas.openxmlformats.org/officeDocument/2006/relationships/image" Target="../media/image27.png"/><Relationship Id="rId12" Type="http://schemas.openxmlformats.org/officeDocument/2006/relationships/image" Target="../media/image23.svg"/><Relationship Id="rId2" Type="http://schemas.openxmlformats.org/officeDocument/2006/relationships/slideLayout" Target="../slideLayouts/slideLayout17.xml"/><Relationship Id="rId1" Type="http://schemas.openxmlformats.org/officeDocument/2006/relationships/tags" Target="../tags/tag26.xml"/><Relationship Id="rId6" Type="http://schemas.openxmlformats.org/officeDocument/2006/relationships/hyperlink" Target="https://iuk-business-connect.org.uk/projects/pfer/heat-networks-as-flexible-grid-assets/" TargetMode="External"/><Relationship Id="rId11" Type="http://schemas.openxmlformats.org/officeDocument/2006/relationships/image" Target="../media/image22.png"/><Relationship Id="rId5" Type="http://schemas.openxmlformats.org/officeDocument/2006/relationships/image" Target="../media/image1.emf"/><Relationship Id="rId10" Type="http://schemas.openxmlformats.org/officeDocument/2006/relationships/image" Target="../media/image30.svg"/><Relationship Id="rId4" Type="http://schemas.openxmlformats.org/officeDocument/2006/relationships/oleObject" Target="../embeddings/oleObject15.bin"/><Relationship Id="rId9" Type="http://schemas.openxmlformats.org/officeDocument/2006/relationships/image" Target="../media/image29.png"/><Relationship Id="rId14" Type="http://schemas.openxmlformats.org/officeDocument/2006/relationships/image" Target="../media/image25.svg"/></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notesSlide" Target="../notesSlides/notesSlide6.xml"/><Relationship Id="rId7" Type="http://schemas.openxmlformats.org/officeDocument/2006/relationships/image" Target="../media/image31.jpeg"/><Relationship Id="rId12" Type="http://schemas.openxmlformats.org/officeDocument/2006/relationships/image" Target="../media/image24.png"/><Relationship Id="rId2" Type="http://schemas.openxmlformats.org/officeDocument/2006/relationships/slideLayout" Target="../slideLayouts/slideLayout17.xml"/><Relationship Id="rId1" Type="http://schemas.openxmlformats.org/officeDocument/2006/relationships/tags" Target="../tags/tag27.xml"/><Relationship Id="rId6" Type="http://schemas.openxmlformats.org/officeDocument/2006/relationships/hyperlink" Target="https://es.catapult.org.uk/report/storage-and-flexibility-thermal-energy-storage-for-heat-networks/" TargetMode="External"/><Relationship Id="rId11" Type="http://schemas.openxmlformats.org/officeDocument/2006/relationships/image" Target="../media/image34.svg"/><Relationship Id="rId5" Type="http://schemas.openxmlformats.org/officeDocument/2006/relationships/image" Target="../media/image1.emf"/><Relationship Id="rId10" Type="http://schemas.openxmlformats.org/officeDocument/2006/relationships/image" Target="../media/image33.png"/><Relationship Id="rId4" Type="http://schemas.openxmlformats.org/officeDocument/2006/relationships/oleObject" Target="../embeddings/oleObject16.bin"/><Relationship Id="rId9" Type="http://schemas.openxmlformats.org/officeDocument/2006/relationships/image" Target="../media/image32.svg"/></Relationships>
</file>

<file path=ppt/slides/_rels/slide16.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23.svg"/><Relationship Id="rId3" Type="http://schemas.openxmlformats.org/officeDocument/2006/relationships/notesSlide" Target="../notesSlides/notesSlide7.xml"/><Relationship Id="rId7" Type="http://schemas.openxmlformats.org/officeDocument/2006/relationships/image" Target="../media/image35.jpeg"/><Relationship Id="rId12" Type="http://schemas.openxmlformats.org/officeDocument/2006/relationships/image" Target="../media/image22.png"/><Relationship Id="rId2" Type="http://schemas.openxmlformats.org/officeDocument/2006/relationships/slideLayout" Target="../slideLayouts/slideLayout17.xml"/><Relationship Id="rId1" Type="http://schemas.openxmlformats.org/officeDocument/2006/relationships/tags" Target="../tags/tag28.xml"/><Relationship Id="rId6" Type="http://schemas.openxmlformats.org/officeDocument/2006/relationships/hyperlink" Target="https://greenenergylab.at/projects/thermaflex/?lang=en" TargetMode="External"/><Relationship Id="rId11" Type="http://schemas.openxmlformats.org/officeDocument/2006/relationships/image" Target="../media/image32.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oleObject" Target="../embeddings/oleObject17.bin"/><Relationship Id="rId9" Type="http://schemas.openxmlformats.org/officeDocument/2006/relationships/image" Target="../media/image37.png"/><Relationship Id="rId14" Type="http://schemas.openxmlformats.org/officeDocument/2006/relationships/image" Target="../media/image24.png"/></Relationships>
</file>

<file path=ppt/slides/_rels/slide1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25.svg"/><Relationship Id="rId3" Type="http://schemas.openxmlformats.org/officeDocument/2006/relationships/notesSlide" Target="../notesSlides/notesSlide8.xml"/><Relationship Id="rId7" Type="http://schemas.openxmlformats.org/officeDocument/2006/relationships/image" Target="../media/image38.png"/><Relationship Id="rId12" Type="http://schemas.openxmlformats.org/officeDocument/2006/relationships/image" Target="../media/image24.png"/><Relationship Id="rId2" Type="http://schemas.openxmlformats.org/officeDocument/2006/relationships/slideLayout" Target="../slideLayouts/slideLayout17.xml"/><Relationship Id="rId1" Type="http://schemas.openxmlformats.org/officeDocument/2006/relationships/tags" Target="../tags/tag29.xml"/><Relationship Id="rId6" Type="http://schemas.openxmlformats.org/officeDocument/2006/relationships/hyperlink" Target="https://smarter.energynetworks.org/projects/nia_ukpn0090/" TargetMode="External"/><Relationship Id="rId11" Type="http://schemas.openxmlformats.org/officeDocument/2006/relationships/image" Target="../media/image23.sv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18.bin"/><Relationship Id="rId9" Type="http://schemas.openxmlformats.org/officeDocument/2006/relationships/image" Target="../media/image30.svg"/></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24.png"/><Relationship Id="rId3" Type="http://schemas.openxmlformats.org/officeDocument/2006/relationships/notesSlide" Target="../notesSlides/notesSlide9.xml"/><Relationship Id="rId7" Type="http://schemas.openxmlformats.org/officeDocument/2006/relationships/image" Target="../media/image39.jpeg"/><Relationship Id="rId12" Type="http://schemas.openxmlformats.org/officeDocument/2006/relationships/image" Target="../media/image23.svg"/><Relationship Id="rId2" Type="http://schemas.openxmlformats.org/officeDocument/2006/relationships/slideLayout" Target="../slideLayouts/slideLayout17.xml"/><Relationship Id="rId1" Type="http://schemas.openxmlformats.org/officeDocument/2006/relationships/tags" Target="../tags/tag30.xml"/><Relationship Id="rId6" Type="http://schemas.openxmlformats.org/officeDocument/2006/relationships/hyperlink" Target="https://www.ait.ac.at/en/research-topics/integrated-energy-systems/projects/strategies-for-decarbonizing-district-heating" TargetMode="External"/><Relationship Id="rId11" Type="http://schemas.openxmlformats.org/officeDocument/2006/relationships/image" Target="../media/image22.png"/><Relationship Id="rId5" Type="http://schemas.openxmlformats.org/officeDocument/2006/relationships/image" Target="../media/image1.emf"/><Relationship Id="rId10" Type="http://schemas.openxmlformats.org/officeDocument/2006/relationships/image" Target="../media/image30.svg"/><Relationship Id="rId4" Type="http://schemas.openxmlformats.org/officeDocument/2006/relationships/oleObject" Target="../embeddings/oleObject19.bin"/><Relationship Id="rId9" Type="http://schemas.openxmlformats.org/officeDocument/2006/relationships/image" Target="../media/image29.png"/><Relationship Id="rId14" Type="http://schemas.openxmlformats.org/officeDocument/2006/relationships/image" Target="../media/image25.svg"/></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23.svg"/><Relationship Id="rId3" Type="http://schemas.openxmlformats.org/officeDocument/2006/relationships/notesSlide" Target="../notesSlides/notesSlide10.xml"/><Relationship Id="rId7" Type="http://schemas.openxmlformats.org/officeDocument/2006/relationships/image" Target="../media/image41.png"/><Relationship Id="rId12" Type="http://schemas.openxmlformats.org/officeDocument/2006/relationships/image" Target="../media/image22.png"/><Relationship Id="rId2" Type="http://schemas.openxmlformats.org/officeDocument/2006/relationships/slideLayout" Target="../slideLayouts/slideLayout17.xml"/><Relationship Id="rId1" Type="http://schemas.openxmlformats.org/officeDocument/2006/relationships/tags" Target="../tags/tag31.xml"/><Relationship Id="rId6" Type="http://schemas.openxmlformats.org/officeDocument/2006/relationships/hyperlink" Target="https://www.thunderproject.eu/project-summary/" TargetMode="External"/><Relationship Id="rId11" Type="http://schemas.openxmlformats.org/officeDocument/2006/relationships/image" Target="../media/image32.svg"/><Relationship Id="rId5" Type="http://schemas.openxmlformats.org/officeDocument/2006/relationships/image" Target="../media/image1.emf"/><Relationship Id="rId15" Type="http://schemas.openxmlformats.org/officeDocument/2006/relationships/image" Target="../media/image45.svg"/><Relationship Id="rId10" Type="http://schemas.openxmlformats.org/officeDocument/2006/relationships/image" Target="../media/image20.png"/><Relationship Id="rId4" Type="http://schemas.openxmlformats.org/officeDocument/2006/relationships/oleObject" Target="../embeddings/oleObject20.bin"/><Relationship Id="rId9" Type="http://schemas.openxmlformats.org/officeDocument/2006/relationships/image" Target="../media/image43.png"/><Relationship Id="rId1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7.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22.png"/><Relationship Id="rId3" Type="http://schemas.openxmlformats.org/officeDocument/2006/relationships/notesSlide" Target="../notesSlides/notesSlide11.xml"/><Relationship Id="rId7" Type="http://schemas.openxmlformats.org/officeDocument/2006/relationships/image" Target="../media/image36.jpeg"/><Relationship Id="rId12" Type="http://schemas.openxmlformats.org/officeDocument/2006/relationships/image" Target="../media/image32.svg"/><Relationship Id="rId2" Type="http://schemas.openxmlformats.org/officeDocument/2006/relationships/slideLayout" Target="../slideLayouts/slideLayout17.xml"/><Relationship Id="rId16" Type="http://schemas.openxmlformats.org/officeDocument/2006/relationships/image" Target="../media/image25.svg"/><Relationship Id="rId1" Type="http://schemas.openxmlformats.org/officeDocument/2006/relationships/tags" Target="../tags/tag32.xml"/><Relationship Id="rId6" Type="http://schemas.openxmlformats.org/officeDocument/2006/relationships/hyperlink" Target="https://www.treasure-project.eu/" TargetMode="External"/><Relationship Id="rId11" Type="http://schemas.openxmlformats.org/officeDocument/2006/relationships/image" Target="../media/image20.png"/><Relationship Id="rId5" Type="http://schemas.openxmlformats.org/officeDocument/2006/relationships/image" Target="../media/image1.emf"/><Relationship Id="rId15" Type="http://schemas.openxmlformats.org/officeDocument/2006/relationships/image" Target="../media/image24.png"/><Relationship Id="rId10" Type="http://schemas.openxmlformats.org/officeDocument/2006/relationships/image" Target="../media/image48.png"/><Relationship Id="rId4" Type="http://schemas.openxmlformats.org/officeDocument/2006/relationships/oleObject" Target="../embeddings/oleObject21.bin"/><Relationship Id="rId9" Type="http://schemas.openxmlformats.org/officeDocument/2006/relationships/image" Target="../media/image47.png"/><Relationship Id="rId14" Type="http://schemas.openxmlformats.org/officeDocument/2006/relationships/image" Target="../media/image23.svg"/></Relationships>
</file>

<file path=ppt/slides/_rels/slide21.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49.png"/><Relationship Id="rId3" Type="http://schemas.openxmlformats.org/officeDocument/2006/relationships/notesSlide" Target="../notesSlides/notesSlide12.xml"/><Relationship Id="rId7" Type="http://schemas.openxmlformats.org/officeDocument/2006/relationships/image" Target="../media/image20.png"/><Relationship Id="rId12" Type="http://schemas.openxmlformats.org/officeDocument/2006/relationships/image" Target="../media/image45.svg"/><Relationship Id="rId2" Type="http://schemas.openxmlformats.org/officeDocument/2006/relationships/slideLayout" Target="../slideLayouts/slideLayout17.xml"/><Relationship Id="rId1" Type="http://schemas.openxmlformats.org/officeDocument/2006/relationships/tags" Target="../tags/tag33.xml"/><Relationship Id="rId6" Type="http://schemas.openxmlformats.org/officeDocument/2006/relationships/hyperlink" Target="https://www.uses4heat.eu/" TargetMode="External"/><Relationship Id="rId11" Type="http://schemas.openxmlformats.org/officeDocument/2006/relationships/image" Target="../media/image44.png"/><Relationship Id="rId5" Type="http://schemas.openxmlformats.org/officeDocument/2006/relationships/image" Target="../media/image1.emf"/><Relationship Id="rId10" Type="http://schemas.openxmlformats.org/officeDocument/2006/relationships/image" Target="../media/image23.svg"/><Relationship Id="rId4" Type="http://schemas.openxmlformats.org/officeDocument/2006/relationships/oleObject" Target="../embeddings/oleObject22.bin"/><Relationship Id="rId9" Type="http://schemas.openxmlformats.org/officeDocument/2006/relationships/image" Target="../media/image22.png"/><Relationship Id="rId14" Type="http://schemas.openxmlformats.org/officeDocument/2006/relationships/image" Target="../media/image50.jpeg"/></Relationships>
</file>

<file path=ppt/slides/_rels/slide22.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51.png"/><Relationship Id="rId3" Type="http://schemas.openxmlformats.org/officeDocument/2006/relationships/notesSlide" Target="../notesSlides/notesSlide13.xml"/><Relationship Id="rId7" Type="http://schemas.openxmlformats.org/officeDocument/2006/relationships/image" Target="../media/image29.png"/><Relationship Id="rId12" Type="http://schemas.openxmlformats.org/officeDocument/2006/relationships/image" Target="../media/image45.svg"/><Relationship Id="rId2" Type="http://schemas.openxmlformats.org/officeDocument/2006/relationships/slideLayout" Target="../slideLayouts/slideLayout17.xml"/><Relationship Id="rId16" Type="http://schemas.openxmlformats.org/officeDocument/2006/relationships/image" Target="../media/image54.jpeg"/><Relationship Id="rId1" Type="http://schemas.openxmlformats.org/officeDocument/2006/relationships/tags" Target="../tags/tag34.xml"/><Relationship Id="rId6" Type="http://schemas.openxmlformats.org/officeDocument/2006/relationships/hyperlink" Target="https://prod.euroheat.org/dhc/eu-projects/re-peak" TargetMode="External"/><Relationship Id="rId11" Type="http://schemas.openxmlformats.org/officeDocument/2006/relationships/image" Target="../media/image44.png"/><Relationship Id="rId5" Type="http://schemas.openxmlformats.org/officeDocument/2006/relationships/image" Target="../media/image1.emf"/><Relationship Id="rId15" Type="http://schemas.openxmlformats.org/officeDocument/2006/relationships/image" Target="../media/image53.png"/><Relationship Id="rId10" Type="http://schemas.openxmlformats.org/officeDocument/2006/relationships/image" Target="../media/image23.svg"/><Relationship Id="rId4" Type="http://schemas.openxmlformats.org/officeDocument/2006/relationships/oleObject" Target="../embeddings/oleObject23.bin"/><Relationship Id="rId9" Type="http://schemas.openxmlformats.org/officeDocument/2006/relationships/image" Target="../media/image22.png"/><Relationship Id="rId14" Type="http://schemas.openxmlformats.org/officeDocument/2006/relationships/image" Target="../media/image52.jpeg"/></Relationships>
</file>

<file path=ppt/slides/_rels/slide23.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55.png"/><Relationship Id="rId3" Type="http://schemas.openxmlformats.org/officeDocument/2006/relationships/notesSlide" Target="../notesSlides/notesSlide14.xml"/><Relationship Id="rId7" Type="http://schemas.openxmlformats.org/officeDocument/2006/relationships/image" Target="../media/image29.png"/><Relationship Id="rId12" Type="http://schemas.openxmlformats.org/officeDocument/2006/relationships/image" Target="../media/image25.svg"/><Relationship Id="rId2" Type="http://schemas.openxmlformats.org/officeDocument/2006/relationships/slideLayout" Target="../slideLayouts/slideLayout17.xml"/><Relationship Id="rId1" Type="http://schemas.openxmlformats.org/officeDocument/2006/relationships/tags" Target="../tags/tag35.xml"/><Relationship Id="rId6" Type="http://schemas.openxmlformats.org/officeDocument/2006/relationships/hyperlink" Target="https://senergynets.eu/" TargetMode="External"/><Relationship Id="rId11" Type="http://schemas.openxmlformats.org/officeDocument/2006/relationships/image" Target="../media/image24.png"/><Relationship Id="rId5" Type="http://schemas.openxmlformats.org/officeDocument/2006/relationships/image" Target="../media/image1.emf"/><Relationship Id="rId10" Type="http://schemas.openxmlformats.org/officeDocument/2006/relationships/image" Target="../media/image23.svg"/><Relationship Id="rId4" Type="http://schemas.openxmlformats.org/officeDocument/2006/relationships/oleObject" Target="../embeddings/oleObject24.bin"/><Relationship Id="rId9" Type="http://schemas.openxmlformats.org/officeDocument/2006/relationships/image" Target="../media/image22.png"/><Relationship Id="rId14" Type="http://schemas.openxmlformats.org/officeDocument/2006/relationships/image" Target="../media/image56.png"/></Relationships>
</file>

<file path=ppt/slides/_rels/slide24.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57.png"/><Relationship Id="rId3" Type="http://schemas.openxmlformats.org/officeDocument/2006/relationships/notesSlide" Target="../notesSlides/notesSlide15.xml"/><Relationship Id="rId7" Type="http://schemas.openxmlformats.org/officeDocument/2006/relationships/image" Target="../media/image29.png"/><Relationship Id="rId12" Type="http://schemas.openxmlformats.org/officeDocument/2006/relationships/image" Target="../media/image25.svg"/><Relationship Id="rId2" Type="http://schemas.openxmlformats.org/officeDocument/2006/relationships/slideLayout" Target="../slideLayouts/slideLayout17.xml"/><Relationship Id="rId1" Type="http://schemas.openxmlformats.org/officeDocument/2006/relationships/tags" Target="../tags/tag36.xml"/><Relationship Id="rId6" Type="http://schemas.openxmlformats.org/officeDocument/2006/relationships/hyperlink" Target="https://www.flexitricity.com/resources/case-studies/aberdeen-heat-power-pioneering-district-heating-project-uses-capacity-market-revenue-support-their-mission-alleviating-fuel-poverty" TargetMode="External"/><Relationship Id="rId11" Type="http://schemas.openxmlformats.org/officeDocument/2006/relationships/image" Target="../media/image24.png"/><Relationship Id="rId5" Type="http://schemas.openxmlformats.org/officeDocument/2006/relationships/image" Target="../media/image1.emf"/><Relationship Id="rId10" Type="http://schemas.openxmlformats.org/officeDocument/2006/relationships/image" Target="../media/image34.svg"/><Relationship Id="rId4" Type="http://schemas.openxmlformats.org/officeDocument/2006/relationships/oleObject" Target="../embeddings/oleObject25.bin"/><Relationship Id="rId9" Type="http://schemas.openxmlformats.org/officeDocument/2006/relationships/image" Target="../media/image33.png"/><Relationship Id="rId14" Type="http://schemas.openxmlformats.org/officeDocument/2006/relationships/image" Target="../media/image58.png"/></Relationships>
</file>

<file path=ppt/slides/_rels/slide25.xml.rels><?xml version="1.0" encoding="UTF-8" standalone="yes"?>
<Relationships xmlns="http://schemas.openxmlformats.org/package/2006/relationships"><Relationship Id="rId8" Type="http://schemas.openxmlformats.org/officeDocument/2006/relationships/hyperlink" Target="https://www.magnitude-project.eu/wp-content/uploads/2021/04/Magnitude_Public_Workshop_Presentation_March_2021-final.pdf" TargetMode="External"/><Relationship Id="rId13" Type="http://schemas.openxmlformats.org/officeDocument/2006/relationships/image" Target="../media/image24.png"/><Relationship Id="rId3" Type="http://schemas.openxmlformats.org/officeDocument/2006/relationships/notesSlide" Target="../notesSlides/notesSlide16.xml"/><Relationship Id="rId7" Type="http://schemas.openxmlformats.org/officeDocument/2006/relationships/hyperlink" Target="https://www.magnitude-project.eu/results-and-publications/publications-and-presentations/" TargetMode="External"/><Relationship Id="rId12" Type="http://schemas.openxmlformats.org/officeDocument/2006/relationships/image" Target="../media/image34.svg"/><Relationship Id="rId2" Type="http://schemas.openxmlformats.org/officeDocument/2006/relationships/slideLayout" Target="../slideLayouts/slideLayout17.xml"/><Relationship Id="rId1" Type="http://schemas.openxmlformats.org/officeDocument/2006/relationships/tags" Target="../tags/tag37.xml"/><Relationship Id="rId6" Type="http://schemas.openxmlformats.org/officeDocument/2006/relationships/hyperlink" Target="https://www.magnitude-project.eu/" TargetMode="External"/><Relationship Id="rId11" Type="http://schemas.openxmlformats.org/officeDocument/2006/relationships/image" Target="../media/image33.png"/><Relationship Id="rId5" Type="http://schemas.openxmlformats.org/officeDocument/2006/relationships/image" Target="../media/image1.emf"/><Relationship Id="rId15" Type="http://schemas.openxmlformats.org/officeDocument/2006/relationships/image" Target="../media/image59.png"/><Relationship Id="rId10" Type="http://schemas.openxmlformats.org/officeDocument/2006/relationships/image" Target="../media/image32.svg"/><Relationship Id="rId4" Type="http://schemas.openxmlformats.org/officeDocument/2006/relationships/oleObject" Target="../embeddings/oleObject26.bin"/><Relationship Id="rId9" Type="http://schemas.openxmlformats.org/officeDocument/2006/relationships/image" Target="../media/image20.png"/><Relationship Id="rId14" Type="http://schemas.openxmlformats.org/officeDocument/2006/relationships/image" Target="../media/image25.svg"/></Relationships>
</file>

<file path=ppt/slides/_rels/slide2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oleObject" Target="../embeddings/oleObject27.bin"/><Relationship Id="rId7" Type="http://schemas.openxmlformats.org/officeDocument/2006/relationships/image" Target="../media/image62.png"/><Relationship Id="rId12" Type="http://schemas.openxmlformats.org/officeDocument/2006/relationships/image" Target="../media/image24.png"/><Relationship Id="rId2" Type="http://schemas.openxmlformats.org/officeDocument/2006/relationships/slideLayout" Target="../slideLayouts/slideLayout17.xml"/><Relationship Id="rId1" Type="http://schemas.openxmlformats.org/officeDocument/2006/relationships/tags" Target="../tags/tag38.xml"/><Relationship Id="rId6" Type="http://schemas.openxmlformats.org/officeDocument/2006/relationships/image" Target="../media/image61.png"/><Relationship Id="rId11" Type="http://schemas.openxmlformats.org/officeDocument/2006/relationships/image" Target="../media/image34.svg"/><Relationship Id="rId5" Type="http://schemas.openxmlformats.org/officeDocument/2006/relationships/image" Target="../media/image60.png"/><Relationship Id="rId10" Type="http://schemas.openxmlformats.org/officeDocument/2006/relationships/image" Target="../media/image33.png"/><Relationship Id="rId4" Type="http://schemas.openxmlformats.org/officeDocument/2006/relationships/image" Target="../media/image1.emf"/><Relationship Id="rId9" Type="http://schemas.openxmlformats.org/officeDocument/2006/relationships/image" Target="../media/image32.svg"/></Relationships>
</file>

<file path=ppt/slides/_rels/slide27.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58.png"/><Relationship Id="rId3" Type="http://schemas.openxmlformats.org/officeDocument/2006/relationships/notesSlide" Target="../notesSlides/notesSlide17.xml"/><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slideLayout" Target="../slideLayouts/slideLayout17.xml"/><Relationship Id="rId1" Type="http://schemas.openxmlformats.org/officeDocument/2006/relationships/tags" Target="../tags/tag39.xml"/><Relationship Id="rId6" Type="http://schemas.openxmlformats.org/officeDocument/2006/relationships/hyperlink" Target="https://www.flexitricity.com/blog/energy-efficency/importance-flexible-heat-networks-meeting-our-2050" TargetMode="External"/><Relationship Id="rId11" Type="http://schemas.openxmlformats.org/officeDocument/2006/relationships/image" Target="../media/image24.png"/><Relationship Id="rId5" Type="http://schemas.openxmlformats.org/officeDocument/2006/relationships/image" Target="../media/image1.emf"/><Relationship Id="rId15" Type="http://schemas.openxmlformats.org/officeDocument/2006/relationships/image" Target="../media/image64.jpeg"/><Relationship Id="rId10" Type="http://schemas.openxmlformats.org/officeDocument/2006/relationships/image" Target="../media/image34.svg"/><Relationship Id="rId4" Type="http://schemas.openxmlformats.org/officeDocument/2006/relationships/oleObject" Target="../embeddings/oleObject28.bin"/><Relationship Id="rId9" Type="http://schemas.openxmlformats.org/officeDocument/2006/relationships/image" Target="../media/image33.png"/><Relationship Id="rId14" Type="http://schemas.openxmlformats.org/officeDocument/2006/relationships/image" Target="../media/image63.png"/></Relationships>
</file>

<file path=ppt/slides/_rels/slide2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25.svg"/><Relationship Id="rId3" Type="http://schemas.openxmlformats.org/officeDocument/2006/relationships/notesSlide" Target="../notesSlides/notesSlide18.xml"/><Relationship Id="rId7" Type="http://schemas.openxmlformats.org/officeDocument/2006/relationships/hyperlink" Target="https://heatpumpingtechnologies.org/annex57/case-studies/" TargetMode="External"/><Relationship Id="rId12" Type="http://schemas.openxmlformats.org/officeDocument/2006/relationships/image" Target="../media/image24.png"/><Relationship Id="rId2" Type="http://schemas.openxmlformats.org/officeDocument/2006/relationships/slideLayout" Target="../slideLayouts/slideLayout17.xml"/><Relationship Id="rId1" Type="http://schemas.openxmlformats.org/officeDocument/2006/relationships/tags" Target="../tags/tag40.xml"/><Relationship Id="rId6" Type="http://schemas.openxmlformats.org/officeDocument/2006/relationships/hyperlink" Target="https://heatpumpingtechnologies.org/annex57/" TargetMode="External"/><Relationship Id="rId11" Type="http://schemas.openxmlformats.org/officeDocument/2006/relationships/image" Target="../media/image23.sv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29.bin"/><Relationship Id="rId9" Type="http://schemas.openxmlformats.org/officeDocument/2006/relationships/image" Target="../media/image30.svg"/></Relationships>
</file>

<file path=ppt/slides/_rels/slide29.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30.bin"/><Relationship Id="rId7" Type="http://schemas.openxmlformats.org/officeDocument/2006/relationships/image" Target="../media/image29.png"/><Relationship Id="rId12" Type="http://schemas.openxmlformats.org/officeDocument/2006/relationships/image" Target="../media/image25.svg"/><Relationship Id="rId2" Type="http://schemas.openxmlformats.org/officeDocument/2006/relationships/slideLayout" Target="../slideLayouts/slideLayout17.xml"/><Relationship Id="rId1" Type="http://schemas.openxmlformats.org/officeDocument/2006/relationships/tags" Target="../tags/tag41.xml"/><Relationship Id="rId6" Type="http://schemas.openxmlformats.org/officeDocument/2006/relationships/image" Target="../media/image66.png"/><Relationship Id="rId11" Type="http://schemas.openxmlformats.org/officeDocument/2006/relationships/image" Target="../media/image24.png"/><Relationship Id="rId5" Type="http://schemas.openxmlformats.org/officeDocument/2006/relationships/image" Target="../media/image65.png"/><Relationship Id="rId10" Type="http://schemas.openxmlformats.org/officeDocument/2006/relationships/image" Target="../media/image23.svg"/><Relationship Id="rId4" Type="http://schemas.openxmlformats.org/officeDocument/2006/relationships/image" Target="../media/image1.emf"/><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67.png"/><Relationship Id="rId3" Type="http://schemas.openxmlformats.org/officeDocument/2006/relationships/notesSlide" Target="../notesSlides/notesSlide19.xml"/><Relationship Id="rId7" Type="http://schemas.openxmlformats.org/officeDocument/2006/relationships/image" Target="../media/image29.png"/><Relationship Id="rId12" Type="http://schemas.openxmlformats.org/officeDocument/2006/relationships/image" Target="../media/image25.svg"/><Relationship Id="rId2" Type="http://schemas.openxmlformats.org/officeDocument/2006/relationships/slideLayout" Target="../slideLayouts/slideLayout17.xml"/><Relationship Id="rId1" Type="http://schemas.openxmlformats.org/officeDocument/2006/relationships/tags" Target="../tags/tag42.xml"/><Relationship Id="rId6" Type="http://schemas.openxmlformats.org/officeDocument/2006/relationships/hyperlink" Target="https://flexisync.eu/" TargetMode="External"/><Relationship Id="rId11" Type="http://schemas.openxmlformats.org/officeDocument/2006/relationships/image" Target="../media/image24.png"/><Relationship Id="rId5" Type="http://schemas.openxmlformats.org/officeDocument/2006/relationships/image" Target="../media/image1.emf"/><Relationship Id="rId10" Type="http://schemas.openxmlformats.org/officeDocument/2006/relationships/image" Target="../media/image34.svg"/><Relationship Id="rId4" Type="http://schemas.openxmlformats.org/officeDocument/2006/relationships/oleObject" Target="../embeddings/oleObject31.bin"/><Relationship Id="rId9" Type="http://schemas.openxmlformats.org/officeDocument/2006/relationships/image" Target="../media/image33.png"/></Relationships>
</file>

<file path=ppt/slides/_rels/slide3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oleObject" Target="../embeddings/oleObject32.bin"/><Relationship Id="rId7" Type="http://schemas.openxmlformats.org/officeDocument/2006/relationships/image" Target="../media/image70.png"/><Relationship Id="rId2" Type="http://schemas.openxmlformats.org/officeDocument/2006/relationships/slideLayout" Target="../slideLayouts/slideLayout17.xml"/><Relationship Id="rId1" Type="http://schemas.openxmlformats.org/officeDocument/2006/relationships/tags" Target="../tags/tag43.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1.emf"/><Relationship Id="rId9" Type="http://schemas.openxmlformats.org/officeDocument/2006/relationships/image" Target="../media/image72.png"/></Relationships>
</file>

<file path=ppt/slides/_rels/slide3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oleObject" Target="../embeddings/oleObject32.bin"/><Relationship Id="rId7" Type="http://schemas.openxmlformats.org/officeDocument/2006/relationships/image" Target="../media/image33.png"/><Relationship Id="rId2" Type="http://schemas.openxmlformats.org/officeDocument/2006/relationships/slideLayout" Target="../slideLayouts/slideLayout17.xml"/><Relationship Id="rId1" Type="http://schemas.openxmlformats.org/officeDocument/2006/relationships/tags" Target="../tags/tag44.xml"/><Relationship Id="rId6" Type="http://schemas.openxmlformats.org/officeDocument/2006/relationships/image" Target="../media/image30.svg"/><Relationship Id="rId11" Type="http://schemas.openxmlformats.org/officeDocument/2006/relationships/image" Target="../media/image74.png"/><Relationship Id="rId5" Type="http://schemas.openxmlformats.org/officeDocument/2006/relationships/image" Target="../media/image29.png"/><Relationship Id="rId10" Type="http://schemas.openxmlformats.org/officeDocument/2006/relationships/image" Target="../media/image25.svg"/><Relationship Id="rId4" Type="http://schemas.openxmlformats.org/officeDocument/2006/relationships/image" Target="../media/image1.emf"/><Relationship Id="rId9" Type="http://schemas.openxmlformats.org/officeDocument/2006/relationships/image" Target="../media/image24.png"/></Relationships>
</file>

<file path=ppt/slides/_rels/slide33.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75.emf"/><Relationship Id="rId3" Type="http://schemas.openxmlformats.org/officeDocument/2006/relationships/notesSlide" Target="../notesSlides/notesSlide20.xml"/><Relationship Id="rId7" Type="http://schemas.openxmlformats.org/officeDocument/2006/relationships/image" Target="../media/image20.png"/><Relationship Id="rId12" Type="http://schemas.openxmlformats.org/officeDocument/2006/relationships/image" Target="../media/image45.svg"/><Relationship Id="rId2" Type="http://schemas.openxmlformats.org/officeDocument/2006/relationships/slideLayout" Target="../slideLayouts/slideLayout17.xml"/><Relationship Id="rId1" Type="http://schemas.openxmlformats.org/officeDocument/2006/relationships/tags" Target="../tags/tag45.xml"/><Relationship Id="rId6" Type="http://schemas.openxmlformats.org/officeDocument/2006/relationships/hyperlink" Target="https://bura.brunel.ac.uk/bitstream/2438/27523/1/FullText.pdf" TargetMode="External"/><Relationship Id="rId11" Type="http://schemas.openxmlformats.org/officeDocument/2006/relationships/image" Target="../media/image44.png"/><Relationship Id="rId5" Type="http://schemas.openxmlformats.org/officeDocument/2006/relationships/image" Target="../media/image1.emf"/><Relationship Id="rId15" Type="http://schemas.openxmlformats.org/officeDocument/2006/relationships/image" Target="../media/image77.png"/><Relationship Id="rId10" Type="http://schemas.openxmlformats.org/officeDocument/2006/relationships/image" Target="../media/image23.svg"/><Relationship Id="rId4" Type="http://schemas.openxmlformats.org/officeDocument/2006/relationships/oleObject" Target="../embeddings/oleObject33.bin"/><Relationship Id="rId9" Type="http://schemas.openxmlformats.org/officeDocument/2006/relationships/image" Target="../media/image22.png"/><Relationship Id="rId14" Type="http://schemas.openxmlformats.org/officeDocument/2006/relationships/image" Target="../media/image76.png"/></Relationships>
</file>

<file path=ppt/slides/_rels/slide34.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78.gif"/><Relationship Id="rId3" Type="http://schemas.openxmlformats.org/officeDocument/2006/relationships/notesSlide" Target="../notesSlides/notesSlide21.xml"/><Relationship Id="rId7" Type="http://schemas.openxmlformats.org/officeDocument/2006/relationships/image" Target="../media/image29.png"/><Relationship Id="rId12" Type="http://schemas.openxmlformats.org/officeDocument/2006/relationships/image" Target="../media/image25.svg"/><Relationship Id="rId2" Type="http://schemas.openxmlformats.org/officeDocument/2006/relationships/slideLayout" Target="../slideLayouts/slideLayout17.xml"/><Relationship Id="rId1" Type="http://schemas.openxmlformats.org/officeDocument/2006/relationships/tags" Target="../tags/tag46.xml"/><Relationship Id="rId6" Type="http://schemas.openxmlformats.org/officeDocument/2006/relationships/hyperlink" Target="https://www.nationalgrid.co.uk/projects/equinox-equitable-novel-flexibility-exchange" TargetMode="External"/><Relationship Id="rId11" Type="http://schemas.openxmlformats.org/officeDocument/2006/relationships/image" Target="../media/image24.png"/><Relationship Id="rId5" Type="http://schemas.openxmlformats.org/officeDocument/2006/relationships/image" Target="../media/image1.emf"/><Relationship Id="rId10" Type="http://schemas.openxmlformats.org/officeDocument/2006/relationships/image" Target="../media/image23.svg"/><Relationship Id="rId4" Type="http://schemas.openxmlformats.org/officeDocument/2006/relationships/oleObject" Target="../embeddings/oleObject34.bin"/><Relationship Id="rId9" Type="http://schemas.openxmlformats.org/officeDocument/2006/relationships/image" Target="../media/image2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7.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7.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8.xml.rels><?xml version="1.0" encoding="UTF-8" standalone="yes"?>
<Relationships xmlns="http://schemas.openxmlformats.org/package/2006/relationships"><Relationship Id="rId8" Type="http://schemas.openxmlformats.org/officeDocument/2006/relationships/hyperlink" Target="https://consult.ofgem.gov.uk/energy-supply/heat-networks-regulation/" TargetMode="External"/><Relationship Id="rId3" Type="http://schemas.openxmlformats.org/officeDocument/2006/relationships/oleObject" Target="../embeddings/oleObject37.bin"/><Relationship Id="rId7" Type="http://schemas.openxmlformats.org/officeDocument/2006/relationships/hyperlink" Target="https://www.gov.uk/government/consultations/heat-networks-regulation-implementing-consumer-protections" TargetMode="External"/><Relationship Id="rId2" Type="http://schemas.openxmlformats.org/officeDocument/2006/relationships/slideLayout" Target="../slideLayouts/slideLayout17.xml"/><Relationship Id="rId1" Type="http://schemas.openxmlformats.org/officeDocument/2006/relationships/tags" Target="../tags/tag49.xml"/><Relationship Id="rId6" Type="http://schemas.openxmlformats.org/officeDocument/2006/relationships/hyperlink" Target="https://www.gov.uk/government/consultations/heat-networks-regulation-consumer-protection" TargetMode="External"/><Relationship Id="rId5" Type="http://schemas.openxmlformats.org/officeDocument/2006/relationships/hyperlink" Target="https://www.gov.uk/government/consultations/proposals-for-heat-network-zoning-2023" TargetMode="External"/><Relationship Id="rId4" Type="http://schemas.openxmlformats.org/officeDocument/2006/relationships/image" Target="../media/image1.emf"/><Relationship Id="rId9" Type="http://schemas.openxmlformats.org/officeDocument/2006/relationships/hyperlink" Target="https://www.find-tender.service.gov.uk/Notice/007757-2025"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assets.publishing.service.gov.uk/media/6686cb3e7541f54efe51b9fd/hnip-delivering-support-heat-networks.pdf" TargetMode="External"/><Relationship Id="rId3" Type="http://schemas.openxmlformats.org/officeDocument/2006/relationships/notesSlide" Target="../notesSlides/notesSlide24.xml"/><Relationship Id="rId7" Type="http://schemas.openxmlformats.org/officeDocument/2006/relationships/hyperlink" Target="https://www.gov.uk/guidance/heat-networks-delivery-unit" TargetMode="External"/><Relationship Id="rId12" Type="http://schemas.openxmlformats.org/officeDocument/2006/relationships/hyperlink" Target="https://www.gov.uk/government/publications/heat-network-efficiency-scheme-hnes" TargetMode="External"/><Relationship Id="rId2" Type="http://schemas.openxmlformats.org/officeDocument/2006/relationships/slideLayout" Target="../slideLayouts/slideLayout17.xml"/><Relationship Id="rId1" Type="http://schemas.openxmlformats.org/officeDocument/2006/relationships/tags" Target="../tags/tag50.xml"/><Relationship Id="rId6" Type="http://schemas.openxmlformats.org/officeDocument/2006/relationships/hyperlink" Target="https://www.gov.uk/government/collections/heat-networks" TargetMode="External"/><Relationship Id="rId11" Type="http://schemas.openxmlformats.org/officeDocument/2006/relationships/hyperlink" Target="https://www.gov.uk/guidance/energy-bills-discount-scheme-heat-networks-support" TargetMode="External"/><Relationship Id="rId5" Type="http://schemas.openxmlformats.org/officeDocument/2006/relationships/image" Target="../media/image1.emf"/><Relationship Id="rId10" Type="http://schemas.openxmlformats.org/officeDocument/2006/relationships/hyperlink" Target="https://tp-heatnetworks.org/bhive/" TargetMode="External"/><Relationship Id="rId4" Type="http://schemas.openxmlformats.org/officeDocument/2006/relationships/oleObject" Target="../embeddings/oleObject38.bin"/><Relationship Id="rId9" Type="http://schemas.openxmlformats.org/officeDocument/2006/relationships/hyperlink" Target="https://assets.publishing.service.gov.uk/media/6798c357cfd3deafa04fdf3c/green-heat-network-fund-scheme-overview.pdf"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5.svg"/><Relationship Id="rId2" Type="http://schemas.openxmlformats.org/officeDocument/2006/relationships/slideLayout" Target="../slideLayouts/slideLayout17.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7.xml"/><Relationship Id="rId1" Type="http://schemas.openxmlformats.org/officeDocument/2006/relationships/tags" Target="../tags/tag9.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7.xml"/><Relationship Id="rId1" Type="http://schemas.openxmlformats.org/officeDocument/2006/relationships/tags" Target="../tags/tag10.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10.bin"/><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Layout" Target="../slideLayouts/slideLayout17.xml"/><Relationship Id="rId17" Type="http://schemas.openxmlformats.org/officeDocument/2006/relationships/chart" Target="../charts/chart1.xml"/><Relationship Id="rId2" Type="http://schemas.openxmlformats.org/officeDocument/2006/relationships/tags" Target="../tags/tag12.xml"/><Relationship Id="rId16" Type="http://schemas.openxmlformats.org/officeDocument/2006/relationships/hyperlink" Target="https://www.gov.uk/government/publications/energy-trends-march-2018-special-feature-article-experimental-statistics-on-heat-networks" TargetMode="Externa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16.png"/><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1.bin"/><Relationship Id="rId7" Type="http://schemas.openxmlformats.org/officeDocument/2006/relationships/hyperlink" Target="https://data.barbour-abi.com/smart-map/repd/desnz/?type=heat_network" TargetMode="External"/><Relationship Id="rId2" Type="http://schemas.openxmlformats.org/officeDocument/2006/relationships/slideLayout" Target="../slideLayouts/slideLayout17.xml"/><Relationship Id="rId1" Type="http://schemas.openxmlformats.org/officeDocument/2006/relationships/tags" Target="../tags/tag2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emf"/><Relationship Id="rId9" Type="http://schemas.openxmlformats.org/officeDocument/2006/relationships/hyperlink" Target="https://assets.publishing.service.gov.uk/media/66a23740a3c2a28abb50d711/uk-heat-networks-market-overview.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95FB226-8705-90A2-032A-162AF0766C29}"/>
              </a:ext>
            </a:extLst>
          </p:cNvPr>
          <p:cNvGraphicFramePr>
            <a:graphicFrameLocks noChangeAspect="1"/>
          </p:cNvGraphicFramePr>
          <p:nvPr>
            <p:custDataLst>
              <p:tags r:id="rId1"/>
            </p:custDataLst>
            <p:extLst>
              <p:ext uri="{D42A27DB-BD31-4B8C-83A1-F6EECF244321}">
                <p14:modId xmlns:p14="http://schemas.microsoft.com/office/powerpoint/2010/main" val="3090238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think-cell data - do not delete" hidden="1">
                        <a:extLst>
                          <a:ext uri="{FF2B5EF4-FFF2-40B4-BE49-F238E27FC236}">
                            <a16:creationId xmlns:a16="http://schemas.microsoft.com/office/drawing/2014/main" id="{B95FB226-8705-90A2-032A-162AF0766C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E56D7C-3E17-E2A6-9EFD-57813F51E96C}"/>
              </a:ext>
            </a:extLst>
          </p:cNvPr>
          <p:cNvSpPr>
            <a:spLocks noGrp="1"/>
          </p:cNvSpPr>
          <p:nvPr>
            <p:ph type="title"/>
          </p:nvPr>
        </p:nvSpPr>
        <p:spPr>
          <a:xfrm>
            <a:off x="370917" y="4071740"/>
            <a:ext cx="11388692" cy="551591"/>
          </a:xfrm>
        </p:spPr>
        <p:txBody>
          <a:bodyPr vert="horz" anchor="t"/>
          <a:lstStyle/>
          <a:p>
            <a:r>
              <a:rPr lang="en-GB" dirty="0">
                <a:latin typeface="Arial"/>
                <a:cs typeface="Arial"/>
              </a:rPr>
              <a:t>2025 Annual Heatropolis </a:t>
            </a:r>
            <a:br>
              <a:rPr lang="en-GB" dirty="0">
                <a:latin typeface="Arial"/>
                <a:cs typeface="Arial"/>
              </a:rPr>
            </a:br>
            <a:r>
              <a:rPr lang="en-GB" dirty="0">
                <a:latin typeface="Arial"/>
                <a:cs typeface="Arial"/>
              </a:rPr>
              <a:t>Horizon Scan</a:t>
            </a:r>
            <a:endParaRPr lang="en-GB" dirty="0"/>
          </a:p>
        </p:txBody>
      </p:sp>
      <p:sp>
        <p:nvSpPr>
          <p:cNvPr id="4" name="Text Placeholder 3">
            <a:extLst>
              <a:ext uri="{FF2B5EF4-FFF2-40B4-BE49-F238E27FC236}">
                <a16:creationId xmlns:a16="http://schemas.microsoft.com/office/drawing/2014/main" id="{B175B953-D86C-D2CA-C46C-B3786F296C57}"/>
              </a:ext>
            </a:extLst>
          </p:cNvPr>
          <p:cNvSpPr>
            <a:spLocks noGrp="1"/>
          </p:cNvSpPr>
          <p:nvPr>
            <p:ph type="body" sz="quarter" idx="10"/>
          </p:nvPr>
        </p:nvSpPr>
        <p:spPr>
          <a:xfrm>
            <a:off x="432391" y="5069610"/>
            <a:ext cx="5032375" cy="236097"/>
          </a:xfrm>
        </p:spPr>
        <p:txBody>
          <a:bodyPr vert="horz" lIns="91440" tIns="45720" rIns="91440" bIns="45720" rtlCol="0" anchor="t">
            <a:noAutofit/>
          </a:bodyPr>
          <a:lstStyle/>
          <a:p>
            <a:r>
              <a:rPr lang="en-GB" sz="1400" dirty="0">
                <a:latin typeface="Arial"/>
                <a:cs typeface="Arial"/>
              </a:rPr>
              <a:t>April 2025</a:t>
            </a:r>
            <a:endParaRPr lang="en-GB" sz="1400" dirty="0"/>
          </a:p>
        </p:txBody>
      </p:sp>
      <p:pic>
        <p:nvPicPr>
          <p:cNvPr id="8" name="Picture 2" descr="Distribution Network Operator | UK Power Networks">
            <a:extLst>
              <a:ext uri="{FF2B5EF4-FFF2-40B4-BE49-F238E27FC236}">
                <a16:creationId xmlns:a16="http://schemas.microsoft.com/office/drawing/2014/main" id="{C83F2E51-DBD9-7C2A-8FDC-1AFA2692D8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6427" y="5791544"/>
            <a:ext cx="914400" cy="28348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FC7AF704-A141-BC08-C5FC-351AF11B32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1571787" y="5742823"/>
            <a:ext cx="1086626" cy="32513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B357C53A-7DA9-28DB-E2AC-EABBA0A39B7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2819373" y="5791544"/>
            <a:ext cx="1086626" cy="278901"/>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2">
            <a:extLst>
              <a:ext uri="{FF2B5EF4-FFF2-40B4-BE49-F238E27FC236}">
                <a16:creationId xmlns:a16="http://schemas.microsoft.com/office/drawing/2014/main" id="{EFB60CF8-57C7-6ACA-EE2C-1F82FEBCC81D}"/>
              </a:ext>
            </a:extLst>
          </p:cNvPr>
          <p:cNvSpPr txBox="1">
            <a:spLocks/>
          </p:cNvSpPr>
          <p:nvPr/>
        </p:nvSpPr>
        <p:spPr>
          <a:xfrm>
            <a:off x="9027885" y="6360958"/>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2F17264-F1F8-414E-A9D5-4C122FDA0C8E}" type="slidenum">
              <a:rPr lang="en-GB" sz="1200">
                <a:solidFill>
                  <a:schemeClr val="tx1">
                    <a:tint val="75000"/>
                  </a:schemeClr>
                </a:solidFill>
              </a:rPr>
              <a:pPr algn="r"/>
              <a:t>1</a:t>
            </a:fld>
            <a:endParaRPr lang="en-GB" sz="1200">
              <a:solidFill>
                <a:schemeClr val="tx1">
                  <a:tint val="75000"/>
                </a:schemeClr>
              </a:solidFill>
            </a:endParaRPr>
          </a:p>
        </p:txBody>
      </p:sp>
      <p:pic>
        <p:nvPicPr>
          <p:cNvPr id="5" name="Picture 4">
            <a:hlinkClick r:id="rId9"/>
            <a:extLst>
              <a:ext uri="{FF2B5EF4-FFF2-40B4-BE49-F238E27FC236}">
                <a16:creationId xmlns:a16="http://schemas.microsoft.com/office/drawing/2014/main" id="{971E5FB4-AC1A-59AC-7613-041275F6B6DF}"/>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4022135" y="5693715"/>
            <a:ext cx="1316355" cy="343535"/>
          </a:xfrm>
          <a:prstGeom prst="rect">
            <a:avLst/>
          </a:prstGeom>
          <a:noFill/>
          <a:ln>
            <a:noFill/>
          </a:ln>
        </p:spPr>
      </p:pic>
    </p:spTree>
    <p:extLst>
      <p:ext uri="{BB962C8B-B14F-4D97-AF65-F5344CB8AC3E}">
        <p14:creationId xmlns:p14="http://schemas.microsoft.com/office/powerpoint/2010/main" val="3841744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A796E-FA92-75BB-0670-6AB894D9738E}"/>
              </a:ext>
            </a:extLst>
          </p:cNvPr>
          <p:cNvSpPr txBox="1">
            <a:spLocks/>
          </p:cNvSpPr>
          <p:nvPr/>
        </p:nvSpPr>
        <p:spPr>
          <a:xfrm>
            <a:off x="370917" y="4071740"/>
            <a:ext cx="11388692" cy="551591"/>
          </a:xfrm>
          <a:prstGeom prst="rect">
            <a:avLst/>
          </a:prstGeom>
        </p:spPr>
        <p:txBody>
          <a:bodyPr vert="horz" anchor="t"/>
          <a:lstStyle>
            <a:lvl1pPr marL="0" marR="0" indent="0" algn="l" defTabSz="914400" rtl="0" eaLnBrk="1" fontAlgn="auto" latinLnBrk="0" hangingPunct="1">
              <a:lnSpc>
                <a:spcPct val="100000"/>
              </a:lnSpc>
              <a:spcBef>
                <a:spcPts val="0"/>
              </a:spcBef>
              <a:spcAft>
                <a:spcPts val="0"/>
              </a:spcAft>
              <a:buClrTx/>
              <a:buSzTx/>
              <a:buFontTx/>
              <a:buNone/>
              <a:tabLst/>
              <a:defRPr sz="4400" kern="1200">
                <a:solidFill>
                  <a:schemeClr val="tx1"/>
                </a:solidFill>
                <a:latin typeface="+mj-lt"/>
                <a:ea typeface="+mj-ea"/>
                <a:cs typeface="+mj-cs"/>
              </a:defRPr>
            </a:lvl1pPr>
          </a:lstStyle>
          <a:p>
            <a:r>
              <a:rPr lang="en-GB" sz="3200" b="1">
                <a:solidFill>
                  <a:schemeClr val="bg1"/>
                </a:solidFill>
                <a:latin typeface="Arial"/>
                <a:cs typeface="Arial"/>
              </a:rPr>
              <a:t>Relevant Projects &amp; Studies</a:t>
            </a:r>
          </a:p>
        </p:txBody>
      </p:sp>
    </p:spTree>
    <p:extLst>
      <p:ext uri="{BB962C8B-B14F-4D97-AF65-F5344CB8AC3E}">
        <p14:creationId xmlns:p14="http://schemas.microsoft.com/office/powerpoint/2010/main" val="16517243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0E5F4C-3160-812B-68F3-6E31613449D1}"/>
              </a:ext>
            </a:extLst>
          </p:cNvPr>
          <p:cNvGraphicFramePr>
            <a:graphicFrameLocks noChangeAspect="1"/>
          </p:cNvGraphicFramePr>
          <p:nvPr>
            <p:custDataLst>
              <p:tags r:id="rId1"/>
            </p:custDataLst>
            <p:extLst>
              <p:ext uri="{D42A27DB-BD31-4B8C-83A1-F6EECF244321}">
                <p14:modId xmlns:p14="http://schemas.microsoft.com/office/powerpoint/2010/main" val="3620761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4" name="think-cell data - do not delete" hidden="1">
                        <a:extLst>
                          <a:ext uri="{FF2B5EF4-FFF2-40B4-BE49-F238E27FC236}">
                            <a16:creationId xmlns:a16="http://schemas.microsoft.com/office/drawing/2014/main" id="{F90E5F4C-3160-812B-68F3-6E31613449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A3C7C9-B0E3-9EE2-89D3-2F1A036A227E}"/>
              </a:ext>
            </a:extLst>
          </p:cNvPr>
          <p:cNvSpPr>
            <a:spLocks noGrp="1"/>
          </p:cNvSpPr>
          <p:nvPr>
            <p:ph type="title"/>
          </p:nvPr>
        </p:nvSpPr>
        <p:spPr/>
        <p:txBody>
          <a:bodyPr vert="horz"/>
          <a:lstStyle/>
          <a:p>
            <a:r>
              <a:rPr lang="en-US"/>
              <a:t>Project coverage: key themes and geographic scope</a:t>
            </a:r>
          </a:p>
        </p:txBody>
      </p:sp>
      <p:sp>
        <p:nvSpPr>
          <p:cNvPr id="5" name="Rectangle: Rounded Corners 4">
            <a:extLst>
              <a:ext uri="{FF2B5EF4-FFF2-40B4-BE49-F238E27FC236}">
                <a16:creationId xmlns:a16="http://schemas.microsoft.com/office/drawing/2014/main" id="{81B315FD-F453-2434-83D2-2C2D57B11CE8}"/>
              </a:ext>
            </a:extLst>
          </p:cNvPr>
          <p:cNvSpPr/>
          <p:nvPr/>
        </p:nvSpPr>
        <p:spPr>
          <a:xfrm>
            <a:off x="466959" y="1616437"/>
            <a:ext cx="3200400" cy="42062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solidFill>
                  <a:schemeClr val="bg1"/>
                </a:solidFill>
                <a:cs typeface="Arial"/>
              </a:rPr>
              <a:t>Geography</a:t>
            </a:r>
            <a:endParaRPr lang="en-GB" sz="1100">
              <a:solidFill>
                <a:schemeClr val="tx1"/>
              </a:solidFill>
              <a:cs typeface="Arial" panose="020B0604020202020204" pitchFamily="34" charset="0"/>
            </a:endParaRPr>
          </a:p>
        </p:txBody>
      </p:sp>
      <p:sp>
        <p:nvSpPr>
          <p:cNvPr id="6" name="TextBox 5">
            <a:extLst>
              <a:ext uri="{FF2B5EF4-FFF2-40B4-BE49-F238E27FC236}">
                <a16:creationId xmlns:a16="http://schemas.microsoft.com/office/drawing/2014/main" id="{435E1CED-A6FF-DA07-E0AE-DAEF3C2D487A}"/>
              </a:ext>
            </a:extLst>
          </p:cNvPr>
          <p:cNvSpPr txBox="1"/>
          <p:nvPr/>
        </p:nvSpPr>
        <p:spPr>
          <a:xfrm>
            <a:off x="466959" y="2231243"/>
            <a:ext cx="3200400" cy="2246769"/>
          </a:xfrm>
          <a:prstGeom prst="rect">
            <a:avLst/>
          </a:prstGeom>
          <a:noFill/>
        </p:spPr>
        <p:txBody>
          <a:bodyPr wrap="square" rtlCol="0">
            <a:spAutoFit/>
          </a:bodyPr>
          <a:lstStyle/>
          <a:p>
            <a:r>
              <a:rPr lang="en-US" sz="1400" dirty="0"/>
              <a:t>Heatropolis is a UK based project, therefore this Horizon Scan focuses on the UK, as well as large-scale projects in Europe as these markets are sufficiently similar to draw valuable learnings. This iteration of the Horizon Scan includes projects across 21 countries.</a:t>
            </a:r>
          </a:p>
          <a:p>
            <a:endParaRPr lang="en-US" sz="1400" dirty="0"/>
          </a:p>
          <a:p>
            <a:endParaRPr lang="en-US" sz="1400" dirty="0"/>
          </a:p>
          <a:p>
            <a:endParaRPr lang="en-US" sz="1400" dirty="0"/>
          </a:p>
        </p:txBody>
      </p:sp>
      <p:sp>
        <p:nvSpPr>
          <p:cNvPr id="7" name="Rectangle: Rounded Corners 6">
            <a:extLst>
              <a:ext uri="{FF2B5EF4-FFF2-40B4-BE49-F238E27FC236}">
                <a16:creationId xmlns:a16="http://schemas.microsoft.com/office/drawing/2014/main" id="{B0E118B4-EBB7-3903-692E-885BE721A8E1}"/>
              </a:ext>
            </a:extLst>
          </p:cNvPr>
          <p:cNvSpPr/>
          <p:nvPr/>
        </p:nvSpPr>
        <p:spPr>
          <a:xfrm>
            <a:off x="4276959" y="1616437"/>
            <a:ext cx="7448082" cy="42062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solidFill>
                  <a:schemeClr val="bg1"/>
                </a:solidFill>
                <a:cs typeface="Arial"/>
              </a:rPr>
              <a:t>Key Themes</a:t>
            </a:r>
            <a:endParaRPr lang="en-GB" sz="1100">
              <a:solidFill>
                <a:schemeClr val="tx1"/>
              </a:solidFill>
              <a:cs typeface="Arial" panose="020B0604020202020204" pitchFamily="34" charset="0"/>
            </a:endParaRPr>
          </a:p>
        </p:txBody>
      </p:sp>
      <p:sp>
        <p:nvSpPr>
          <p:cNvPr id="8" name="TextBox 7">
            <a:extLst>
              <a:ext uri="{FF2B5EF4-FFF2-40B4-BE49-F238E27FC236}">
                <a16:creationId xmlns:a16="http://schemas.microsoft.com/office/drawing/2014/main" id="{2F471931-8F1B-4E10-9698-D23617AD53C1}"/>
              </a:ext>
            </a:extLst>
          </p:cNvPr>
          <p:cNvSpPr txBox="1"/>
          <p:nvPr/>
        </p:nvSpPr>
        <p:spPr>
          <a:xfrm>
            <a:off x="4276959" y="2571826"/>
            <a:ext cx="2468880" cy="2739211"/>
          </a:xfrm>
          <a:prstGeom prst="rect">
            <a:avLst/>
          </a:prstGeom>
          <a:noFill/>
        </p:spPr>
        <p:txBody>
          <a:bodyPr wrap="square" rtlCol="0">
            <a:spAutoFit/>
          </a:bodyPr>
          <a:lstStyle/>
          <a:p>
            <a:pPr algn="ctr"/>
            <a:r>
              <a:rPr lang="en-US" b="1"/>
              <a:t>Flexibility</a:t>
            </a:r>
            <a:endParaRPr lang="en-US" sz="1400" b="1"/>
          </a:p>
          <a:p>
            <a:pPr algn="ctr"/>
            <a:endParaRPr lang="en-US" sz="1400"/>
          </a:p>
          <a:p>
            <a:pPr algn="ctr"/>
            <a:r>
              <a:rPr lang="en-US" sz="1400"/>
              <a:t>The Horizon Scan includes projects looking at flexibility from the electrification of heat, especially in relation to heat networks, although one project on flexibility from individual heat pumps has also been included due to its relevance to large scale trials involving end customers. </a:t>
            </a:r>
          </a:p>
        </p:txBody>
      </p:sp>
      <p:sp>
        <p:nvSpPr>
          <p:cNvPr id="9" name="TextBox 8">
            <a:extLst>
              <a:ext uri="{FF2B5EF4-FFF2-40B4-BE49-F238E27FC236}">
                <a16:creationId xmlns:a16="http://schemas.microsoft.com/office/drawing/2014/main" id="{0B9297AA-2428-890B-5301-F42A37FD3DD9}"/>
              </a:ext>
            </a:extLst>
          </p:cNvPr>
          <p:cNvSpPr txBox="1"/>
          <p:nvPr/>
        </p:nvSpPr>
        <p:spPr>
          <a:xfrm>
            <a:off x="6766560" y="2590299"/>
            <a:ext cx="2468880" cy="2769989"/>
          </a:xfrm>
          <a:prstGeom prst="rect">
            <a:avLst/>
          </a:prstGeom>
          <a:noFill/>
        </p:spPr>
        <p:txBody>
          <a:bodyPr wrap="square" rtlCol="0">
            <a:spAutoFit/>
          </a:bodyPr>
          <a:lstStyle/>
          <a:p>
            <a:pPr algn="ctr"/>
            <a:r>
              <a:rPr lang="en-US" sz="2000" b="1" dirty="0"/>
              <a:t>Storage</a:t>
            </a:r>
          </a:p>
          <a:p>
            <a:pPr algn="ctr"/>
            <a:endParaRPr lang="en-US" sz="1400" dirty="0"/>
          </a:p>
          <a:p>
            <a:pPr algn="ctr"/>
            <a:r>
              <a:rPr lang="en-US" sz="1400" dirty="0"/>
              <a:t>Projects looking at the use of different types of energy storage technologies with heat networks have been included as storage is a key part of the Heatropolis solution. Most are looking at the use of storage for optimisation of heat loads and flexibility, which is highly relevant to Heatropolis.</a:t>
            </a:r>
          </a:p>
        </p:txBody>
      </p:sp>
      <p:sp>
        <p:nvSpPr>
          <p:cNvPr id="10" name="TextBox 9">
            <a:extLst>
              <a:ext uri="{FF2B5EF4-FFF2-40B4-BE49-F238E27FC236}">
                <a16:creationId xmlns:a16="http://schemas.microsoft.com/office/drawing/2014/main" id="{919BBDDB-0653-FBB2-2B79-F059B2637261}"/>
              </a:ext>
            </a:extLst>
          </p:cNvPr>
          <p:cNvSpPr txBox="1"/>
          <p:nvPr/>
        </p:nvSpPr>
        <p:spPr>
          <a:xfrm>
            <a:off x="9256161" y="2571825"/>
            <a:ext cx="2468880" cy="2739211"/>
          </a:xfrm>
          <a:prstGeom prst="rect">
            <a:avLst/>
          </a:prstGeom>
          <a:noFill/>
        </p:spPr>
        <p:txBody>
          <a:bodyPr wrap="square" rtlCol="0">
            <a:spAutoFit/>
          </a:bodyPr>
          <a:lstStyle/>
          <a:p>
            <a:pPr algn="ctr"/>
            <a:r>
              <a:rPr lang="en-US" b="1"/>
              <a:t>Decarbonisation</a:t>
            </a:r>
          </a:p>
          <a:p>
            <a:pPr algn="ctr"/>
            <a:endParaRPr lang="en-US" sz="1400"/>
          </a:p>
          <a:p>
            <a:pPr algn="ctr"/>
            <a:r>
              <a:rPr lang="en-US" sz="1400"/>
              <a:t>The final theme is projects focused on the decarbonisation of existing heat networks. This range from strategies to increase renewable energy and waste heat sources to whole system approaches improving the integration between heat, electricity and gas networks to accelerate decarbonisation.</a:t>
            </a:r>
          </a:p>
        </p:txBody>
      </p:sp>
      <p:pic>
        <p:nvPicPr>
          <p:cNvPr id="11" name="Graphic 10" descr="Full battery with solid fill">
            <a:extLst>
              <a:ext uri="{FF2B5EF4-FFF2-40B4-BE49-F238E27FC236}">
                <a16:creationId xmlns:a16="http://schemas.microsoft.com/office/drawing/2014/main" id="{8C001E0B-1772-DE6B-B245-EB8E218E788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18120" y="2206065"/>
            <a:ext cx="365760" cy="365760"/>
          </a:xfrm>
          <a:prstGeom prst="rect">
            <a:avLst/>
          </a:prstGeom>
        </p:spPr>
      </p:pic>
      <p:pic>
        <p:nvPicPr>
          <p:cNvPr id="12" name="Graphic 11" descr="Leaf with solid fill">
            <a:extLst>
              <a:ext uri="{FF2B5EF4-FFF2-40B4-BE49-F238E27FC236}">
                <a16:creationId xmlns:a16="http://schemas.microsoft.com/office/drawing/2014/main" id="{82E2CFCC-0247-655C-5B48-BF425F8E98E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07721" y="2206065"/>
            <a:ext cx="365760" cy="365760"/>
          </a:xfrm>
          <a:prstGeom prst="rect">
            <a:avLst/>
          </a:prstGeom>
        </p:spPr>
      </p:pic>
      <p:pic>
        <p:nvPicPr>
          <p:cNvPr id="13" name="Graphic 12" descr="Yoga with solid fill">
            <a:extLst>
              <a:ext uri="{FF2B5EF4-FFF2-40B4-BE49-F238E27FC236}">
                <a16:creationId xmlns:a16="http://schemas.microsoft.com/office/drawing/2014/main" id="{6130DC2D-B166-706D-FFCE-A91F7FBC44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28519" y="2130800"/>
            <a:ext cx="365760" cy="365760"/>
          </a:xfrm>
          <a:prstGeom prst="rect">
            <a:avLst/>
          </a:prstGeom>
        </p:spPr>
      </p:pic>
      <p:pic>
        <p:nvPicPr>
          <p:cNvPr id="16" name="Picture 15">
            <a:extLst>
              <a:ext uri="{FF2B5EF4-FFF2-40B4-BE49-F238E27FC236}">
                <a16:creationId xmlns:a16="http://schemas.microsoft.com/office/drawing/2014/main" id="{7CDABB22-59AC-CF47-C18F-D40A4660058E}"/>
              </a:ext>
            </a:extLst>
          </p:cNvPr>
          <p:cNvPicPr>
            <a:picLocks noChangeAspect="1"/>
          </p:cNvPicPr>
          <p:nvPr/>
        </p:nvPicPr>
        <p:blipFill>
          <a:blip r:embed="rId12"/>
          <a:stretch>
            <a:fillRect/>
          </a:stretch>
        </p:blipFill>
        <p:spPr>
          <a:xfrm>
            <a:off x="621337" y="3771968"/>
            <a:ext cx="2870007" cy="2734550"/>
          </a:xfrm>
          <a:prstGeom prst="rect">
            <a:avLst/>
          </a:prstGeom>
        </p:spPr>
      </p:pic>
    </p:spTree>
    <p:extLst>
      <p:ext uri="{BB962C8B-B14F-4D97-AF65-F5344CB8AC3E}">
        <p14:creationId xmlns:p14="http://schemas.microsoft.com/office/powerpoint/2010/main" val="4714593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B3E727-78E5-F824-0A5F-0DC5E6320D12}"/>
              </a:ext>
            </a:extLst>
          </p:cNvPr>
          <p:cNvGraphicFramePr>
            <a:graphicFrameLocks noChangeAspect="1"/>
          </p:cNvGraphicFramePr>
          <p:nvPr>
            <p:custDataLst>
              <p:tags r:id="rId1"/>
            </p:custDataLst>
            <p:extLst>
              <p:ext uri="{D42A27DB-BD31-4B8C-83A1-F6EECF244321}">
                <p14:modId xmlns:p14="http://schemas.microsoft.com/office/powerpoint/2010/main" val="323363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E4B3E727-78E5-F824-0A5F-0DC5E6320D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502865-7873-6585-A710-ABF4EFFCB6C7}"/>
              </a:ext>
            </a:extLst>
          </p:cNvPr>
          <p:cNvSpPr>
            <a:spLocks noGrp="1"/>
          </p:cNvSpPr>
          <p:nvPr>
            <p:ph type="title"/>
          </p:nvPr>
        </p:nvSpPr>
        <p:spPr/>
        <p:txBody>
          <a:bodyPr vert="horz"/>
          <a:lstStyle/>
          <a:p>
            <a:r>
              <a:rPr lang="en-US"/>
              <a:t>List of relevant projects (1/2)</a:t>
            </a:r>
          </a:p>
        </p:txBody>
      </p:sp>
      <p:graphicFrame>
        <p:nvGraphicFramePr>
          <p:cNvPr id="6" name="Content Placeholder 5">
            <a:extLst>
              <a:ext uri="{FF2B5EF4-FFF2-40B4-BE49-F238E27FC236}">
                <a16:creationId xmlns:a16="http://schemas.microsoft.com/office/drawing/2014/main" id="{82F46EDA-BA4C-F909-E2BE-61942E723BED}"/>
              </a:ext>
            </a:extLst>
          </p:cNvPr>
          <p:cNvGraphicFramePr>
            <a:graphicFrameLocks noGrp="1"/>
          </p:cNvGraphicFramePr>
          <p:nvPr>
            <p:ph idx="1"/>
            <p:extLst>
              <p:ext uri="{D42A27DB-BD31-4B8C-83A1-F6EECF244321}">
                <p14:modId xmlns:p14="http://schemas.microsoft.com/office/powerpoint/2010/main" val="1160910581"/>
              </p:ext>
            </p:extLst>
          </p:nvPr>
        </p:nvGraphicFramePr>
        <p:xfrm>
          <a:off x="466725" y="1201858"/>
          <a:ext cx="11304127" cy="5044440"/>
        </p:xfrm>
        <a:graphic>
          <a:graphicData uri="http://schemas.openxmlformats.org/drawingml/2006/table">
            <a:tbl>
              <a:tblPr firstRow="1" bandRow="1">
                <a:tableStyleId>{72833802-FEF1-4C79-8D5D-14CF1EAF98D9}</a:tableStyleId>
              </a:tblPr>
              <a:tblGrid>
                <a:gridCol w="411099">
                  <a:extLst>
                    <a:ext uri="{9D8B030D-6E8A-4147-A177-3AD203B41FA5}">
                      <a16:colId xmlns:a16="http://schemas.microsoft.com/office/drawing/2014/main" val="545532260"/>
                    </a:ext>
                  </a:extLst>
                </a:gridCol>
                <a:gridCol w="1903476">
                  <a:extLst>
                    <a:ext uri="{9D8B030D-6E8A-4147-A177-3AD203B41FA5}">
                      <a16:colId xmlns:a16="http://schemas.microsoft.com/office/drawing/2014/main" val="1044193323"/>
                    </a:ext>
                  </a:extLst>
                </a:gridCol>
                <a:gridCol w="876300">
                  <a:extLst>
                    <a:ext uri="{9D8B030D-6E8A-4147-A177-3AD203B41FA5}">
                      <a16:colId xmlns:a16="http://schemas.microsoft.com/office/drawing/2014/main" val="2789771927"/>
                    </a:ext>
                  </a:extLst>
                </a:gridCol>
                <a:gridCol w="1638300">
                  <a:extLst>
                    <a:ext uri="{9D8B030D-6E8A-4147-A177-3AD203B41FA5}">
                      <a16:colId xmlns:a16="http://schemas.microsoft.com/office/drawing/2014/main" val="1459890592"/>
                    </a:ext>
                  </a:extLst>
                </a:gridCol>
                <a:gridCol w="6474952">
                  <a:extLst>
                    <a:ext uri="{9D8B030D-6E8A-4147-A177-3AD203B41FA5}">
                      <a16:colId xmlns:a16="http://schemas.microsoft.com/office/drawing/2014/main" val="112826736"/>
                    </a:ext>
                  </a:extLst>
                </a:gridCol>
              </a:tblGrid>
              <a:tr h="235330">
                <a:tc>
                  <a:txBody>
                    <a:bodyPr/>
                    <a:lstStyle/>
                    <a:p>
                      <a:r>
                        <a:rPr lang="en-US" sz="1200"/>
                        <a:t>#</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tc>
                  <a:txBody>
                    <a:bodyPr/>
                    <a:lstStyle/>
                    <a:p>
                      <a:r>
                        <a:rPr lang="en-US" sz="1200"/>
                        <a:t>Project</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tc>
                  <a:txBody>
                    <a:bodyPr/>
                    <a:lstStyle/>
                    <a:p>
                      <a:r>
                        <a:rPr lang="en-US" sz="1200"/>
                        <a:t>Country</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tc>
                  <a:txBody>
                    <a:bodyPr/>
                    <a:lstStyle/>
                    <a:p>
                      <a:r>
                        <a:rPr lang="en-US" sz="1200"/>
                        <a:t>Organisation(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tc>
                  <a:txBody>
                    <a:bodyPr/>
                    <a:lstStyle/>
                    <a:p>
                      <a:r>
                        <a:rPr lang="en-US" sz="1200"/>
                        <a:t>Description</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extLst>
                  <a:ext uri="{0D108BD9-81ED-4DB2-BD59-A6C34878D82A}">
                    <a16:rowId xmlns:a16="http://schemas.microsoft.com/office/drawing/2014/main" val="2665508139"/>
                  </a:ext>
                </a:extLst>
              </a:tr>
              <a:tr h="366069">
                <a:tc>
                  <a:txBody>
                    <a:bodyPr/>
                    <a:lstStyle/>
                    <a:p>
                      <a:r>
                        <a:rPr lang="en-US" sz="1100" b="1"/>
                        <a:t>1</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6"/>
                        </a:rPr>
                        <a:t>Heat networks as flexible grid assets</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err="1"/>
                        <a:t>Minibems</a:t>
                      </a:r>
                      <a:r>
                        <a:rPr lang="en-US" sz="1100"/>
                        <a:t>, </a:t>
                      </a:r>
                      <a:r>
                        <a:rPr lang="en-US" sz="1100" err="1"/>
                        <a:t>Evinox</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Part of UKRI’s Industrial Strategy Challenge Fund. aimed to use heating demand variability and the inherent heat storage of buildings to allow heat networks to benefit from energy price variability and provide flexibility.</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1395886405"/>
                  </a:ext>
                </a:extLst>
              </a:tr>
              <a:tr h="509882">
                <a:tc>
                  <a:txBody>
                    <a:bodyPr/>
                    <a:lstStyle/>
                    <a:p>
                      <a:r>
                        <a:rPr lang="en-US" sz="1100" b="1"/>
                        <a:t>2</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7"/>
                        </a:rPr>
                        <a:t>Storage and Flexibility Net Zero Series: Thermal Energy Storage for Heat Networks</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Energy Systems Catapult</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Reviewed existing and innovative thermal storage technologies and investigated policy and regulatory barriers to TES alongside DHNs. An Excel-based modelling tool was developed and used to assess the feasibility of TES in DHN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700962579"/>
                  </a:ext>
                </a:extLst>
              </a:tr>
              <a:tr h="366069">
                <a:tc>
                  <a:txBody>
                    <a:bodyPr/>
                    <a:lstStyle/>
                    <a:p>
                      <a:r>
                        <a:rPr lang="en-US" sz="1100" b="1"/>
                        <a:t>3</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8"/>
                        </a:rPr>
                        <a:t>ThermaFLEX</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Austria</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AEE INTEC + partne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Aims to develop strategies and measures for making heat networks more flexible and increase the proportion of renewable heat used.</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1529407736"/>
                  </a:ext>
                </a:extLst>
              </a:tr>
              <a:tr h="366069">
                <a:tc>
                  <a:txBody>
                    <a:bodyPr/>
                    <a:lstStyle/>
                    <a:p>
                      <a:r>
                        <a:rPr lang="en-US" sz="1100" b="1"/>
                        <a:t>4</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9"/>
                        </a:rPr>
                        <a:t>Flex Heat Networks</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PN</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dirty="0"/>
                        <a:t>The project aims to explore the impact of fully or almost fully electric heat networks on the power grid and how to manage them flexibly.</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3010971785"/>
                  </a:ext>
                </a:extLst>
              </a:tr>
              <a:tr h="366069">
                <a:tc>
                  <a:txBody>
                    <a:bodyPr/>
                    <a:lstStyle/>
                    <a:p>
                      <a:r>
                        <a:rPr lang="en-US" sz="1100" b="1"/>
                        <a:t>5</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10"/>
                        </a:rPr>
                        <a:t>Enable DHC</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9 European countr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err="1"/>
                        <a:t>Ambiente</a:t>
                      </a:r>
                      <a:r>
                        <a:rPr lang="en-US" sz="1100"/>
                        <a:t> Italia + partne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Objective is to develop an enabling framework for the diffusion of low-carbon, efficient, resilient and sustainable District Heating and Cooling system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2048436158"/>
                  </a:ext>
                </a:extLst>
              </a:tr>
              <a:tr h="509882">
                <a:tc>
                  <a:txBody>
                    <a:bodyPr/>
                    <a:lstStyle/>
                    <a:p>
                      <a:r>
                        <a:rPr lang="en-US" sz="1100" b="1"/>
                        <a:t>6</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11"/>
                        </a:rPr>
                        <a:t>THUNDER</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 + multiple EU countr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RINA + partne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The THUNDER project aims to overcome existing barriers hampering a wide adoption of DCs waste heat recovery strategies, providing an innovative, efficient and cost attractive Seasonal Thermal storage based on Thermochemical Material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963447667"/>
                  </a:ext>
                </a:extLst>
              </a:tr>
              <a:tr h="366069">
                <a:tc>
                  <a:txBody>
                    <a:bodyPr/>
                    <a:lstStyle/>
                    <a:p>
                      <a:r>
                        <a:rPr lang="en-US" sz="1100" b="1"/>
                        <a:t>7</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12"/>
                        </a:rPr>
                        <a:t>TREASURE</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Multiple EU countr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AEE INTEC + partne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Demonstrating large pit thermal energy storages and improving their components, processes and procedures for an accelerated </a:t>
                      </a:r>
                      <a:r>
                        <a:rPr lang="en-US" sz="1100" err="1"/>
                        <a:t>realisation</a:t>
                      </a:r>
                      <a:r>
                        <a:rPr lang="en-US" sz="1100"/>
                        <a:t> of 100% sustainable district heating networks in Europe.</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175435888"/>
                  </a:ext>
                </a:extLst>
              </a:tr>
              <a:tr h="222256">
                <a:tc>
                  <a:txBody>
                    <a:bodyPr/>
                    <a:lstStyle/>
                    <a:p>
                      <a:r>
                        <a:rPr lang="en-US" sz="1100" b="1"/>
                        <a:t>8</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13"/>
                        </a:rPr>
                        <a:t>USES4HEAT</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6 European countr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KTH Royal Institute of Technology + partne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nderground Large-Scale Seasonal Energy Storage for Decarbonized and Reliable Heat.</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639396586"/>
                  </a:ext>
                </a:extLst>
              </a:tr>
              <a:tr h="366069">
                <a:tc>
                  <a:txBody>
                    <a:bodyPr/>
                    <a:lstStyle/>
                    <a:p>
                      <a:r>
                        <a:rPr lang="en-US" sz="1100" b="1"/>
                        <a:t>9</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14"/>
                        </a:rPr>
                        <a:t>RE-PEAK</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Multiple EU countr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err="1"/>
                        <a:t>Energie</a:t>
                      </a:r>
                      <a:r>
                        <a:rPr lang="en-US" sz="1100"/>
                        <a:t> </a:t>
                      </a:r>
                      <a:r>
                        <a:rPr lang="en-US" sz="1100" err="1"/>
                        <a:t>Institut</a:t>
                      </a:r>
                      <a:r>
                        <a:rPr lang="en-US" sz="1100"/>
                        <a:t>, Tal Tech, </a:t>
                      </a:r>
                      <a:r>
                        <a:rPr lang="en-US" sz="1100" err="1"/>
                        <a:t>Euroheat</a:t>
                      </a:r>
                      <a:r>
                        <a:rPr lang="en-US" sz="1100"/>
                        <a:t> &amp; Power</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The transition of heat networks must be supported by a better understanding of the challenges and options associated with peak heat load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1237157642"/>
                  </a:ext>
                </a:extLst>
              </a:tr>
              <a:tr h="509882">
                <a:tc>
                  <a:txBody>
                    <a:bodyPr/>
                    <a:lstStyle/>
                    <a:p>
                      <a:r>
                        <a:rPr lang="en-US" sz="1100" b="1"/>
                        <a:t>10</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15"/>
                        </a:rPr>
                        <a:t>SENERGY-NETS</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Multiple EU countr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European Institute for Energy Research + partne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dirty="0"/>
                        <a:t>SENERGY-NETS will develop a set of tools and platforms (up to TRL7/8) aimed to optimise the planning of District Heating and Cooling as well as distribution grids with sector coupling consideration and allow the provision of flexibility services to Distribution and Transmission System Operato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4163996788"/>
                  </a:ext>
                </a:extLst>
              </a:tr>
            </a:tbl>
          </a:graphicData>
        </a:graphic>
      </p:graphicFrame>
    </p:spTree>
    <p:extLst>
      <p:ext uri="{BB962C8B-B14F-4D97-AF65-F5344CB8AC3E}">
        <p14:creationId xmlns:p14="http://schemas.microsoft.com/office/powerpoint/2010/main" val="31447752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B3E727-78E5-F824-0A5F-0DC5E6320D12}"/>
              </a:ext>
            </a:extLst>
          </p:cNvPr>
          <p:cNvGraphicFramePr>
            <a:graphicFrameLocks noChangeAspect="1"/>
          </p:cNvGraphicFramePr>
          <p:nvPr>
            <p:custDataLst>
              <p:tags r:id="rId1"/>
            </p:custDataLst>
            <p:extLst>
              <p:ext uri="{D42A27DB-BD31-4B8C-83A1-F6EECF244321}">
                <p14:modId xmlns:p14="http://schemas.microsoft.com/office/powerpoint/2010/main" val="2522393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E4B3E727-78E5-F824-0A5F-0DC5E6320D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502865-7873-6585-A710-ABF4EFFCB6C7}"/>
              </a:ext>
            </a:extLst>
          </p:cNvPr>
          <p:cNvSpPr>
            <a:spLocks noGrp="1"/>
          </p:cNvSpPr>
          <p:nvPr>
            <p:ph type="title"/>
          </p:nvPr>
        </p:nvSpPr>
        <p:spPr/>
        <p:txBody>
          <a:bodyPr vert="horz"/>
          <a:lstStyle/>
          <a:p>
            <a:r>
              <a:rPr lang="en-US"/>
              <a:t>List of relevant projects (2/2)</a:t>
            </a:r>
          </a:p>
        </p:txBody>
      </p:sp>
      <p:graphicFrame>
        <p:nvGraphicFramePr>
          <p:cNvPr id="6" name="Content Placeholder 5">
            <a:extLst>
              <a:ext uri="{FF2B5EF4-FFF2-40B4-BE49-F238E27FC236}">
                <a16:creationId xmlns:a16="http://schemas.microsoft.com/office/drawing/2014/main" id="{82F46EDA-BA4C-F909-E2BE-61942E723BED}"/>
              </a:ext>
            </a:extLst>
          </p:cNvPr>
          <p:cNvGraphicFramePr>
            <a:graphicFrameLocks noGrp="1"/>
          </p:cNvGraphicFramePr>
          <p:nvPr>
            <p:ph idx="1"/>
            <p:extLst>
              <p:ext uri="{D42A27DB-BD31-4B8C-83A1-F6EECF244321}">
                <p14:modId xmlns:p14="http://schemas.microsoft.com/office/powerpoint/2010/main" val="3842005475"/>
              </p:ext>
            </p:extLst>
          </p:nvPr>
        </p:nvGraphicFramePr>
        <p:xfrm>
          <a:off x="466725" y="1201858"/>
          <a:ext cx="11304127" cy="4099560"/>
        </p:xfrm>
        <a:graphic>
          <a:graphicData uri="http://schemas.openxmlformats.org/drawingml/2006/table">
            <a:tbl>
              <a:tblPr firstRow="1" bandRow="1">
                <a:tableStyleId>{72833802-FEF1-4C79-8D5D-14CF1EAF98D9}</a:tableStyleId>
              </a:tblPr>
              <a:tblGrid>
                <a:gridCol w="408383">
                  <a:extLst>
                    <a:ext uri="{9D8B030D-6E8A-4147-A177-3AD203B41FA5}">
                      <a16:colId xmlns:a16="http://schemas.microsoft.com/office/drawing/2014/main" val="545532260"/>
                    </a:ext>
                  </a:extLst>
                </a:gridCol>
                <a:gridCol w="1889385">
                  <a:extLst>
                    <a:ext uri="{9D8B030D-6E8A-4147-A177-3AD203B41FA5}">
                      <a16:colId xmlns:a16="http://schemas.microsoft.com/office/drawing/2014/main" val="1044193323"/>
                    </a:ext>
                  </a:extLst>
                </a:gridCol>
                <a:gridCol w="862940">
                  <a:extLst>
                    <a:ext uri="{9D8B030D-6E8A-4147-A177-3AD203B41FA5}">
                      <a16:colId xmlns:a16="http://schemas.microsoft.com/office/drawing/2014/main" val="2789771927"/>
                    </a:ext>
                  </a:extLst>
                </a:gridCol>
                <a:gridCol w="1611493">
                  <a:extLst>
                    <a:ext uri="{9D8B030D-6E8A-4147-A177-3AD203B41FA5}">
                      <a16:colId xmlns:a16="http://schemas.microsoft.com/office/drawing/2014/main" val="1459890592"/>
                    </a:ext>
                  </a:extLst>
                </a:gridCol>
                <a:gridCol w="6531926">
                  <a:extLst>
                    <a:ext uri="{9D8B030D-6E8A-4147-A177-3AD203B41FA5}">
                      <a16:colId xmlns:a16="http://schemas.microsoft.com/office/drawing/2014/main" val="112826736"/>
                    </a:ext>
                  </a:extLst>
                </a:gridCol>
              </a:tblGrid>
              <a:tr h="235330">
                <a:tc>
                  <a:txBody>
                    <a:bodyPr/>
                    <a:lstStyle/>
                    <a:p>
                      <a:r>
                        <a:rPr lang="en-US" sz="1200"/>
                        <a:t>#</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tc>
                  <a:txBody>
                    <a:bodyPr/>
                    <a:lstStyle/>
                    <a:p>
                      <a:r>
                        <a:rPr lang="en-US" sz="1200"/>
                        <a:t>Project</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tc>
                  <a:txBody>
                    <a:bodyPr/>
                    <a:lstStyle/>
                    <a:p>
                      <a:r>
                        <a:rPr lang="en-US" sz="1200"/>
                        <a:t>Country</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tc>
                  <a:txBody>
                    <a:bodyPr/>
                    <a:lstStyle/>
                    <a:p>
                      <a:r>
                        <a:rPr lang="en-US" sz="1200"/>
                        <a:t>Organisation(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tc>
                  <a:txBody>
                    <a:bodyPr/>
                    <a:lstStyle/>
                    <a:p>
                      <a:r>
                        <a:rPr lang="en-US" sz="1200"/>
                        <a:t>Description</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solidFill>
                      <a:srgbClr val="9C1420"/>
                    </a:solidFill>
                  </a:tcPr>
                </a:tc>
                <a:extLst>
                  <a:ext uri="{0D108BD9-81ED-4DB2-BD59-A6C34878D82A}">
                    <a16:rowId xmlns:a16="http://schemas.microsoft.com/office/drawing/2014/main" val="2665508139"/>
                  </a:ext>
                </a:extLst>
              </a:tr>
              <a:tr h="366069">
                <a:tc>
                  <a:txBody>
                    <a:bodyPr/>
                    <a:lstStyle/>
                    <a:p>
                      <a:r>
                        <a:rPr lang="en-US" sz="1100" b="1"/>
                        <a:t>11</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5"/>
                        </a:rPr>
                        <a:t>Aberdeen Heat &amp; Power</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Aberdeen Heat &amp; Power, </a:t>
                      </a:r>
                      <a:r>
                        <a:rPr lang="en-US" sz="1100" err="1"/>
                        <a:t>Flexitricity</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Pioneering district heating project uses Capacity Market revenue to support their mission of alleviating fuel poverty.</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1395886405"/>
                  </a:ext>
                </a:extLst>
              </a:tr>
              <a:tr h="509882">
                <a:tc>
                  <a:txBody>
                    <a:bodyPr/>
                    <a:lstStyle/>
                    <a:p>
                      <a:r>
                        <a:rPr lang="en-US" sz="1100" b="1"/>
                        <a:t>12</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6"/>
                        </a:rPr>
                        <a:t>Magnitude</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 + multiple EU countr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EDF + partne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Aims to identify potential flexibility options coming from synergies between the electricity, heating, cooling and gas network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700962579"/>
                  </a:ext>
                </a:extLst>
              </a:tr>
              <a:tr h="366069">
                <a:tc>
                  <a:txBody>
                    <a:bodyPr/>
                    <a:lstStyle/>
                    <a:p>
                      <a:r>
                        <a:rPr lang="en-US" sz="1100" b="1"/>
                        <a:t>13</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7"/>
                        </a:rPr>
                        <a:t>Gateshead District Energy Scheme</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Gateshead Council, </a:t>
                      </a:r>
                      <a:r>
                        <a:rPr lang="en-US" sz="1100" err="1"/>
                        <a:t>Flexitricity</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Working with </a:t>
                      </a:r>
                      <a:r>
                        <a:rPr lang="en-US" sz="1100">
                          <a:hlinkClick r:id="rId8"/>
                        </a:rPr>
                        <a:t>Flexitricity</a:t>
                      </a:r>
                      <a:r>
                        <a:rPr lang="en-US" sz="1100"/>
                        <a:t> since 2016, became the first I&amp;C customer to enter the Balancing Mechanism.</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1529407736"/>
                  </a:ext>
                </a:extLst>
              </a:tr>
              <a:tr h="366069">
                <a:tc>
                  <a:txBody>
                    <a:bodyPr/>
                    <a:lstStyle/>
                    <a:p>
                      <a:r>
                        <a:rPr lang="en-US" sz="1100" b="1"/>
                        <a:t>14</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9"/>
                        </a:rPr>
                        <a:t>IEA Technology Collaboration Programme Annex 57</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Multiple EU countr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Heat Pumping Technolog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Flexibility by implementation of heat pumps in multi-vector energy systems and thermal network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3010971785"/>
                  </a:ext>
                </a:extLst>
              </a:tr>
              <a:tr h="366069">
                <a:tc>
                  <a:txBody>
                    <a:bodyPr/>
                    <a:lstStyle/>
                    <a:p>
                      <a:r>
                        <a:rPr lang="en-US" sz="1100" b="1"/>
                        <a:t>15</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10"/>
                        </a:rPr>
                        <a:t>Flexi-Sync</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Multiple EU countrie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Swedish Environmental Research Institute + partne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dirty="0"/>
                        <a:t>Aims to optimise the flexibility in the district energy sector, a sector with untapped potential to balance the energy system.</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2048436158"/>
                  </a:ext>
                </a:extLst>
              </a:tr>
              <a:tr h="509882">
                <a:tc>
                  <a:txBody>
                    <a:bodyPr/>
                    <a:lstStyle/>
                    <a:p>
                      <a:r>
                        <a:rPr lang="en-US" sz="1100" b="1"/>
                        <a:t>16</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dirty="0">
                          <a:hlinkClick r:id="rId11"/>
                        </a:rPr>
                        <a:t>Whole system value of electrified district heating networks in decarbonising heat sector in the UK</a:t>
                      </a:r>
                      <a:endParaRPr lang="en-US" sz="1100" dirty="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Newcastle University</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dirty="0"/>
                        <a:t>Study assessing the whole-system value of using centralised heating technologies to supply a portion of heat demand in the UK in 2035, in contrast to decentralized electrified heat supply.</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359981278"/>
                  </a:ext>
                </a:extLst>
              </a:tr>
              <a:tr h="509882">
                <a:tc>
                  <a:txBody>
                    <a:bodyPr/>
                    <a:lstStyle/>
                    <a:p>
                      <a:r>
                        <a:rPr lang="en-US" sz="1100" b="1"/>
                        <a:t>17</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hlinkClick r:id="rId12"/>
                        </a:rPr>
                        <a:t>EQUINOX</a:t>
                      </a:r>
                      <a:endParaRPr lang="en-US" sz="1100"/>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UK</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a:t>National Grid + partners</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tc>
                  <a:txBody>
                    <a:bodyPr/>
                    <a:lstStyle/>
                    <a:p>
                      <a:r>
                        <a:rPr lang="en-US" sz="1100" dirty="0"/>
                        <a:t>This project aims to develop novel commercial arrangements and supporting technologies that unlock flexibility from residential low carbon heating (heat pumps), while meeting the needs of all consumers, including the fuel poor and vulnerable.</a:t>
                      </a:r>
                    </a:p>
                  </a:txBody>
                  <a:tcPr>
                    <a:lnL w="12700" cap="flat" cmpd="sng" algn="ctr">
                      <a:solidFill>
                        <a:srgbClr val="9C1420"/>
                      </a:solidFill>
                      <a:prstDash val="solid"/>
                      <a:round/>
                      <a:headEnd type="none" w="med" len="med"/>
                      <a:tailEnd type="none" w="med" len="med"/>
                    </a:lnL>
                    <a:lnR w="12700" cap="flat" cmpd="sng" algn="ctr">
                      <a:solidFill>
                        <a:srgbClr val="9C1420"/>
                      </a:solidFill>
                      <a:prstDash val="solid"/>
                      <a:round/>
                      <a:headEnd type="none" w="med" len="med"/>
                      <a:tailEnd type="none" w="med" len="med"/>
                    </a:lnR>
                    <a:lnT w="12700" cap="flat" cmpd="sng" algn="ctr">
                      <a:solidFill>
                        <a:srgbClr val="9C1420"/>
                      </a:solidFill>
                      <a:prstDash val="solid"/>
                      <a:round/>
                      <a:headEnd type="none" w="med" len="med"/>
                      <a:tailEnd type="none" w="med" len="med"/>
                    </a:lnT>
                    <a:lnB w="12700" cap="flat" cmpd="sng" algn="ctr">
                      <a:solidFill>
                        <a:srgbClr val="9C1420"/>
                      </a:solidFill>
                      <a:prstDash val="solid"/>
                      <a:round/>
                      <a:headEnd type="none" w="med" len="med"/>
                      <a:tailEnd type="none" w="med" len="med"/>
                    </a:lnB>
                  </a:tcPr>
                </a:tc>
                <a:extLst>
                  <a:ext uri="{0D108BD9-81ED-4DB2-BD59-A6C34878D82A}">
                    <a16:rowId xmlns:a16="http://schemas.microsoft.com/office/drawing/2014/main" val="963447667"/>
                  </a:ext>
                </a:extLst>
              </a:tr>
            </a:tbl>
          </a:graphicData>
        </a:graphic>
      </p:graphicFrame>
    </p:spTree>
    <p:extLst>
      <p:ext uri="{BB962C8B-B14F-4D97-AF65-F5344CB8AC3E}">
        <p14:creationId xmlns:p14="http://schemas.microsoft.com/office/powerpoint/2010/main" val="1763547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3663297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1. Heat networks as flexible grid assets</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2863079439"/>
              </p:ext>
            </p:extLst>
          </p:nvPr>
        </p:nvGraphicFramePr>
        <p:xfrm>
          <a:off x="466725" y="1544755"/>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dirty="0"/>
                        <a:t>Description:</a:t>
                      </a:r>
                      <a:r>
                        <a:rPr lang="en-US" sz="1200" dirty="0"/>
                        <a:t> UKRI funded projects aimed to use heating demand variability and the inherent heat storage of buildings to allow heat networks to benefit from energy price variability and provide flexibility. </a:t>
                      </a:r>
                      <a:r>
                        <a:rPr lang="en-US" sz="1200" dirty="0">
                          <a:hlinkClick r:id="rId6"/>
                        </a:rPr>
                        <a:t>More info</a:t>
                      </a:r>
                      <a:r>
                        <a:rPr lang="en-US" sz="1200" dirty="0"/>
                        <a:t>.</a:t>
                      </a:r>
                    </a:p>
                  </a:txBody>
                  <a:tcPr/>
                </a:tc>
                <a:extLst>
                  <a:ext uri="{0D108BD9-81ED-4DB2-BD59-A6C34878D82A}">
                    <a16:rowId xmlns:a16="http://schemas.microsoft.com/office/drawing/2014/main" val="1569062850"/>
                  </a:ext>
                </a:extLst>
              </a:tr>
              <a:tr h="117167">
                <a:tc>
                  <a:txBody>
                    <a:bodyPr/>
                    <a:lstStyle/>
                    <a:p>
                      <a:r>
                        <a:rPr lang="en-US" sz="1200" b="1"/>
                        <a:t>Countries:</a:t>
                      </a:r>
                      <a:r>
                        <a:rPr lang="en-US" sz="1200"/>
                        <a:t> United Kingdom</a:t>
                      </a:r>
                    </a:p>
                  </a:txBody>
                  <a:tcPr/>
                </a:tc>
                <a:extLst>
                  <a:ext uri="{0D108BD9-81ED-4DB2-BD59-A6C34878D82A}">
                    <a16:rowId xmlns:a16="http://schemas.microsoft.com/office/drawing/2014/main" val="3782471822"/>
                  </a:ext>
                </a:extLst>
              </a:tr>
              <a:tr h="117167">
                <a:tc>
                  <a:txBody>
                    <a:bodyPr/>
                    <a:lstStyle/>
                    <a:p>
                      <a:r>
                        <a:rPr lang="en-US" sz="1200" b="1" dirty="0"/>
                        <a:t>Organisations:</a:t>
                      </a:r>
                      <a:r>
                        <a:rPr lang="en-US" sz="1200" dirty="0"/>
                        <a:t> </a:t>
                      </a:r>
                    </a:p>
                    <a:p>
                      <a:endParaRPr lang="en-US" sz="1200" dirty="0"/>
                    </a:p>
                    <a:p>
                      <a:endParaRPr lang="en-US" sz="1200" dirty="0"/>
                    </a:p>
                  </a:txBody>
                  <a:tcPr/>
                </a:tc>
                <a:extLst>
                  <a:ext uri="{0D108BD9-81ED-4DB2-BD59-A6C34878D82A}">
                    <a16:rowId xmlns:a16="http://schemas.microsoft.com/office/drawing/2014/main" val="48156588"/>
                  </a:ext>
                </a:extLst>
              </a:tr>
              <a:tr h="117167">
                <a:tc>
                  <a:txBody>
                    <a:bodyPr/>
                    <a:lstStyle/>
                    <a:p>
                      <a:r>
                        <a:rPr lang="en-US" sz="1200" b="1" dirty="0"/>
                        <a:t>Dates:</a:t>
                      </a:r>
                      <a:r>
                        <a:rPr lang="en-US" sz="1200" dirty="0"/>
                        <a:t> April 2020 – December 2021</a:t>
                      </a:r>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2984040329"/>
              </p:ext>
            </p:extLst>
          </p:nvPr>
        </p:nvGraphicFramePr>
        <p:xfrm>
          <a:off x="466725" y="3824648"/>
          <a:ext cx="5494460" cy="14630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80999">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1182041">
                <a:tc>
                  <a:txBody>
                    <a:bodyPr/>
                    <a:lstStyle/>
                    <a:p>
                      <a:pPr marL="171450" indent="-171450">
                        <a:buFont typeface="Arial" panose="020B0604020202020204" pitchFamily="34" charset="0"/>
                        <a:buChar char="•"/>
                      </a:pPr>
                      <a:r>
                        <a:rPr lang="en-US" sz="1200"/>
                        <a:t>Used </a:t>
                      </a:r>
                      <a:r>
                        <a:rPr lang="en-US" sz="1200" err="1"/>
                        <a:t>Minibems</a:t>
                      </a:r>
                      <a:r>
                        <a:rPr lang="en-US" sz="1200"/>
                        <a:t>’ real-time data driven control capability to innovate on ways to provide load shifting options.</a:t>
                      </a:r>
                    </a:p>
                    <a:p>
                      <a:pPr marL="171450" indent="-171450">
                        <a:buFont typeface="Arial" panose="020B0604020202020204" pitchFamily="34" charset="0"/>
                        <a:buChar char="•"/>
                      </a:pPr>
                      <a:endParaRPr lang="en-US" sz="1200"/>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746638179"/>
              </p:ext>
            </p:extLst>
          </p:nvPr>
        </p:nvGraphicFramePr>
        <p:xfrm>
          <a:off x="6276626" y="1544877"/>
          <a:ext cx="5494460" cy="2102998"/>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9792">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1823206">
                <a:tc>
                  <a:txBody>
                    <a:bodyPr/>
                    <a:lstStyle/>
                    <a:p>
                      <a:pPr marL="171450" indent="-171450">
                        <a:buFont typeface="Arial" panose="020B0604020202020204" pitchFamily="34" charset="0"/>
                        <a:buChar char="•"/>
                      </a:pPr>
                      <a:r>
                        <a:rPr lang="en-US" sz="1200"/>
                        <a:t>The project showed how enhanced energy management systems for heat networks could use the way buildings heat up and cool down to flex heating demand, increase efficiency and deliver benefit from cost savings.</a:t>
                      </a:r>
                    </a:p>
                    <a:p>
                      <a:pPr marL="171450" indent="-171450">
                        <a:buFont typeface="Arial" panose="020B0604020202020204" pitchFamily="34" charset="0"/>
                        <a:buChar char="•"/>
                      </a:pPr>
                      <a:r>
                        <a:rPr lang="en-US" sz="1200"/>
                        <a:t>It demonstrated the savings that could be achieved by load shifting the heating demand.</a:t>
                      </a:r>
                    </a:p>
                    <a:p>
                      <a:pPr marL="171450" indent="-171450">
                        <a:buFont typeface="Arial" panose="020B0604020202020204" pitchFamily="34" charset="0"/>
                        <a:buChar char="•"/>
                      </a:pPr>
                      <a:r>
                        <a:rPr lang="en-US" sz="1200"/>
                        <a:t>In March 2023, heat network control company </a:t>
                      </a:r>
                      <a:r>
                        <a:rPr lang="en-US" sz="1200" err="1"/>
                        <a:t>Minibems</a:t>
                      </a:r>
                      <a:r>
                        <a:rPr lang="en-US" sz="1200"/>
                        <a:t> merged with heat network equipment supplier </a:t>
                      </a:r>
                      <a:r>
                        <a:rPr lang="en-US" sz="1200" err="1"/>
                        <a:t>Evinox</a:t>
                      </a:r>
                      <a:r>
                        <a:rPr lang="en-US" sz="1200"/>
                        <a:t> to advance their position in the energy-efficient heat networks sector.</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1064158869"/>
              </p:ext>
            </p:extLst>
          </p:nvPr>
        </p:nvGraphicFramePr>
        <p:xfrm>
          <a:off x="6276626" y="3824648"/>
          <a:ext cx="5494460" cy="14630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dirty="0"/>
                        <a:t>This project provides evidence that cost savings can be achieved through shifting the demand profile to times of lower energy costs, using the thermal mass of the building and enhanced controls alone.</a:t>
                      </a:r>
                    </a:p>
                    <a:p>
                      <a:pPr marL="171450" indent="-171450">
                        <a:buFont typeface="Arial" panose="020B0604020202020204" pitchFamily="34" charset="0"/>
                        <a:buChar char="•"/>
                      </a:pPr>
                      <a:r>
                        <a:rPr lang="en-US" sz="1200" dirty="0"/>
                        <a:t>Little information is publicly available so WP7 should consider engaging with </a:t>
                      </a:r>
                      <a:r>
                        <a:rPr lang="en-US" sz="1200" dirty="0" err="1"/>
                        <a:t>Evinox</a:t>
                      </a:r>
                      <a:r>
                        <a:rPr lang="en-US" sz="1200" dirty="0"/>
                        <a:t> to further understand key learnings and if this solutions has been rolled out beyond the project.</a:t>
                      </a:r>
                    </a:p>
                  </a:txBody>
                  <a:tcPr/>
                </a:tc>
                <a:extLst>
                  <a:ext uri="{0D108BD9-81ED-4DB2-BD59-A6C34878D82A}">
                    <a16:rowId xmlns:a16="http://schemas.microsoft.com/office/drawing/2014/main" val="1569062850"/>
                  </a:ext>
                </a:extLst>
              </a:tr>
            </a:tbl>
          </a:graphicData>
        </a:graphic>
      </p:graphicFrame>
      <p:pic>
        <p:nvPicPr>
          <p:cNvPr id="1028" name="Picture 4" descr="Evinox - provides seamless heat network hardware, technology &amp; services">
            <a:extLst>
              <a:ext uri="{FF2B5EF4-FFF2-40B4-BE49-F238E27FC236}">
                <a16:creationId xmlns:a16="http://schemas.microsoft.com/office/drawing/2014/main" id="{EE7A8845-5B4B-40DA-1898-8A89D85C266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59896" y="2770948"/>
            <a:ext cx="1365738" cy="45752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7F90BC19-7077-FFFF-9C18-008E5A03FCAA}"/>
              </a:ext>
            </a:extLst>
          </p:cNvPr>
          <p:cNvPicPr>
            <a:picLocks noChangeAspect="1"/>
          </p:cNvPicPr>
          <p:nvPr/>
        </p:nvPicPr>
        <p:blipFill>
          <a:blip r:embed="rId8"/>
          <a:stretch>
            <a:fillRect/>
          </a:stretch>
        </p:blipFill>
        <p:spPr>
          <a:xfrm>
            <a:off x="3341075" y="2770948"/>
            <a:ext cx="756140" cy="554503"/>
          </a:xfrm>
          <a:prstGeom prst="rect">
            <a:avLst/>
          </a:prstGeom>
        </p:spPr>
      </p:pic>
      <p:pic>
        <p:nvPicPr>
          <p:cNvPr id="15" name="Graphic 14" descr="Full battery with solid fill">
            <a:extLst>
              <a:ext uri="{FF2B5EF4-FFF2-40B4-BE49-F238E27FC236}">
                <a16:creationId xmlns:a16="http://schemas.microsoft.com/office/drawing/2014/main" id="{7E5F3454-CB04-FD0D-4CC5-E11755FD9E3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020739" y="6489999"/>
            <a:ext cx="365760" cy="365760"/>
          </a:xfrm>
          <a:prstGeom prst="rect">
            <a:avLst/>
          </a:prstGeom>
        </p:spPr>
      </p:pic>
      <p:pic>
        <p:nvPicPr>
          <p:cNvPr id="16" name="Graphic 15" descr="Leaf with solid fill">
            <a:extLst>
              <a:ext uri="{FF2B5EF4-FFF2-40B4-BE49-F238E27FC236}">
                <a16:creationId xmlns:a16="http://schemas.microsoft.com/office/drawing/2014/main" id="{3CAC19A3-155E-AD00-9946-0139724E384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405326" y="6489999"/>
            <a:ext cx="365760" cy="365760"/>
          </a:xfrm>
          <a:prstGeom prst="rect">
            <a:avLst/>
          </a:prstGeom>
        </p:spPr>
      </p:pic>
      <p:pic>
        <p:nvPicPr>
          <p:cNvPr id="17" name="Graphic 16" descr="Yoga with solid fill">
            <a:extLst>
              <a:ext uri="{FF2B5EF4-FFF2-40B4-BE49-F238E27FC236}">
                <a16:creationId xmlns:a16="http://schemas.microsoft.com/office/drawing/2014/main" id="{04AA1D6E-0CE9-7159-095F-2250C0812A0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630773" y="6489999"/>
            <a:ext cx="365760" cy="365760"/>
          </a:xfrm>
          <a:prstGeom prst="rect">
            <a:avLst/>
          </a:prstGeom>
        </p:spPr>
      </p:pic>
      <p:sp>
        <p:nvSpPr>
          <p:cNvPr id="3" name="TextBox 2">
            <a:extLst>
              <a:ext uri="{FF2B5EF4-FFF2-40B4-BE49-F238E27FC236}">
                <a16:creationId xmlns:a16="http://schemas.microsoft.com/office/drawing/2014/main" id="{36DD768A-31E9-462C-E347-986B2A90D17C}"/>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3166400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2629344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nchor="t">
            <a:noAutofit/>
          </a:bodyPr>
          <a:lstStyle/>
          <a:p>
            <a:r>
              <a:rPr lang="en-US"/>
              <a:t>2. Storage and flexibility: thermal energy storage for heat networks</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2605255237"/>
              </p:ext>
            </p:extLst>
          </p:nvPr>
        </p:nvGraphicFramePr>
        <p:xfrm>
          <a:off x="466725" y="1544755"/>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a:t>Description: </a:t>
                      </a:r>
                      <a:r>
                        <a:rPr lang="en-US" sz="1200" b="0"/>
                        <a:t>As part of the Innovating to Net Zero programme, Energy Systems Catapult looked into existing thermal storage technologies and investigated their feasibility alongside heat networks. </a:t>
                      </a:r>
                      <a:r>
                        <a:rPr lang="en-US" sz="1200" b="0">
                          <a:hlinkClick r:id="rId6"/>
                        </a:rPr>
                        <a:t>More info</a:t>
                      </a:r>
                      <a:r>
                        <a:rPr lang="en-US" sz="1200" b="0"/>
                        <a:t>.</a:t>
                      </a:r>
                      <a:endParaRPr lang="en-US" sz="1200"/>
                    </a:p>
                  </a:txBody>
                  <a:tcPr/>
                </a:tc>
                <a:extLst>
                  <a:ext uri="{0D108BD9-81ED-4DB2-BD59-A6C34878D82A}">
                    <a16:rowId xmlns:a16="http://schemas.microsoft.com/office/drawing/2014/main" val="1569062850"/>
                  </a:ext>
                </a:extLst>
              </a:tr>
              <a:tr h="117167">
                <a:tc>
                  <a:txBody>
                    <a:bodyPr/>
                    <a:lstStyle/>
                    <a:p>
                      <a:r>
                        <a:rPr lang="en-US" sz="1200" b="1"/>
                        <a:t>Countries:</a:t>
                      </a:r>
                      <a:r>
                        <a:rPr lang="en-US" sz="1200"/>
                        <a:t> United Kingdom</a:t>
                      </a:r>
                    </a:p>
                  </a:txBody>
                  <a:tcPr/>
                </a:tc>
                <a:extLst>
                  <a:ext uri="{0D108BD9-81ED-4DB2-BD59-A6C34878D82A}">
                    <a16:rowId xmlns:a16="http://schemas.microsoft.com/office/drawing/2014/main" val="3782471822"/>
                  </a:ext>
                </a:extLst>
              </a:tr>
              <a:tr h="117167">
                <a:tc>
                  <a:txBody>
                    <a:bodyPr/>
                    <a:lstStyle/>
                    <a:p>
                      <a:r>
                        <a:rPr lang="en-US" sz="1200" b="1"/>
                        <a:t>Organisations:</a:t>
                      </a:r>
                      <a:r>
                        <a:rPr lang="en-US" sz="1200"/>
                        <a:t> </a:t>
                      </a:r>
                    </a:p>
                    <a:p>
                      <a:endParaRPr lang="en-US" sz="1200"/>
                    </a:p>
                    <a:p>
                      <a:endParaRPr lang="en-US" sz="1200"/>
                    </a:p>
                  </a:txBody>
                  <a:tcPr/>
                </a:tc>
                <a:extLst>
                  <a:ext uri="{0D108BD9-81ED-4DB2-BD59-A6C34878D82A}">
                    <a16:rowId xmlns:a16="http://schemas.microsoft.com/office/drawing/2014/main" val="48156588"/>
                  </a:ext>
                </a:extLst>
              </a:tr>
              <a:tr h="117167">
                <a:tc>
                  <a:txBody>
                    <a:bodyPr/>
                    <a:lstStyle/>
                    <a:p>
                      <a:r>
                        <a:rPr lang="en-US" sz="1200" b="1"/>
                        <a:t>Dates:</a:t>
                      </a:r>
                      <a:r>
                        <a:rPr lang="en-US" sz="1200"/>
                        <a:t> 2020</a:t>
                      </a:r>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1677688532"/>
              </p:ext>
            </p:extLst>
          </p:nvPr>
        </p:nvGraphicFramePr>
        <p:xfrm>
          <a:off x="466725" y="3824647"/>
          <a:ext cx="5494460" cy="201168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7518">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1734162">
                <a:tc>
                  <a:txBody>
                    <a:bodyPr/>
                    <a:lstStyle/>
                    <a:p>
                      <a:pPr marL="171450" indent="-171450">
                        <a:buFont typeface="Arial" panose="020B0604020202020204" pitchFamily="34" charset="0"/>
                        <a:buChar char="•"/>
                      </a:pPr>
                      <a:r>
                        <a:rPr lang="en-US" sz="1200"/>
                        <a:t>Reviewed existing and innovative thermal storage technologies and investigated policy and regulatory barriers to the deployment of thermal energy storage alongside heat networks.</a:t>
                      </a:r>
                    </a:p>
                    <a:p>
                      <a:pPr marL="171450" indent="-171450">
                        <a:buFont typeface="Arial" panose="020B0604020202020204" pitchFamily="34" charset="0"/>
                        <a:buChar char="•"/>
                      </a:pPr>
                      <a:r>
                        <a:rPr lang="en-US" sz="1200"/>
                        <a:t>Developed an Excel-based modelling tool to assess the feasibility of thermal storage in heat networks.</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907812780"/>
              </p:ext>
            </p:extLst>
          </p:nvPr>
        </p:nvGraphicFramePr>
        <p:xfrm>
          <a:off x="6276626" y="1544877"/>
          <a:ext cx="5494460" cy="2102998"/>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6502">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1826496">
                <a:tc>
                  <a:txBody>
                    <a:bodyPr/>
                    <a:lstStyle/>
                    <a:p>
                      <a:pPr marL="171450" indent="-171450">
                        <a:buFont typeface="Arial" panose="020B0604020202020204" pitchFamily="34" charset="0"/>
                        <a:buChar char="•"/>
                      </a:pPr>
                      <a:r>
                        <a:rPr lang="en-US" sz="1200"/>
                        <a:t>The project produced a series of policy recommendations to overcome barriers to using thermal storage within heat networks, including increased R&amp;D support, clear guidance for the design and planning of thermal storage within heat networks, and improved cross-vector integration of heat and power systems.</a:t>
                      </a:r>
                    </a:p>
                    <a:p>
                      <a:pPr marL="171450" indent="-171450">
                        <a:buFont typeface="Arial" panose="020B0604020202020204" pitchFamily="34" charset="0"/>
                        <a:buChar char="•"/>
                      </a:pPr>
                      <a:r>
                        <a:rPr lang="en-US" sz="1200"/>
                        <a:t>Key barriers to deployment of thermal storage were identified as high investment costs, space constraints and customer acceptance.</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3192704104"/>
              </p:ext>
            </p:extLst>
          </p:nvPr>
        </p:nvGraphicFramePr>
        <p:xfrm>
          <a:off x="6276626" y="3824648"/>
          <a:ext cx="5494460" cy="201168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This project provides evidence that high investments costs are currently a barrier to thermal storage in heat networks, supporting the case that further incentives such as flexibility payments would be required for heat networks to do th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Centrally located thermal storage can also provide value to heat networks by reducing the size of heat generation needed.</a:t>
                      </a:r>
                    </a:p>
                    <a:p>
                      <a:pPr marL="171450" indent="-171450">
                        <a:buFont typeface="Arial" panose="020B0604020202020204" pitchFamily="34" charset="0"/>
                        <a:buChar char="•"/>
                      </a:pPr>
                      <a:r>
                        <a:rPr lang="en-US" sz="1200"/>
                        <a:t>In terms of different types of thermal storage, this project found that while sensible heat thermal energy storage (e.g. hot water tanks) is cost effective, at small capacities where space is a premium, latent heat thermal energy storage (phase-changing material-based) could be cost competitive or even comparable.</a:t>
                      </a:r>
                    </a:p>
                  </a:txBody>
                  <a:tcPr/>
                </a:tc>
                <a:extLst>
                  <a:ext uri="{0D108BD9-81ED-4DB2-BD59-A6C34878D82A}">
                    <a16:rowId xmlns:a16="http://schemas.microsoft.com/office/drawing/2014/main" val="1569062850"/>
                  </a:ext>
                </a:extLst>
              </a:tr>
            </a:tbl>
          </a:graphicData>
        </a:graphic>
      </p:graphicFrame>
      <p:pic>
        <p:nvPicPr>
          <p:cNvPr id="2050" name="Picture 2" descr="Energy Systems Catapult - Resource Centre | Esri UK">
            <a:extLst>
              <a:ext uri="{FF2B5EF4-FFF2-40B4-BE49-F238E27FC236}">
                <a16:creationId xmlns:a16="http://schemas.microsoft.com/office/drawing/2014/main" id="{8BAFFDF6-F854-FD88-EA7F-5B192AA764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54785" y="2750883"/>
            <a:ext cx="1264261" cy="606845"/>
          </a:xfrm>
          <a:prstGeom prst="rect">
            <a:avLst/>
          </a:prstGeom>
          <a:noFill/>
          <a:extLst>
            <a:ext uri="{909E8E84-426E-40DD-AFC4-6F175D3DCCD1}">
              <a14:hiddenFill xmlns:a14="http://schemas.microsoft.com/office/drawing/2010/main">
                <a:solidFill>
                  <a:srgbClr val="FFFFFF"/>
                </a:solidFill>
              </a14:hiddenFill>
            </a:ext>
          </a:extLst>
        </p:spPr>
      </p:pic>
      <p:pic>
        <p:nvPicPr>
          <p:cNvPr id="21" name="Graphic 20" descr="Full battery with solid fill">
            <a:extLst>
              <a:ext uri="{FF2B5EF4-FFF2-40B4-BE49-F238E27FC236}">
                <a16:creationId xmlns:a16="http://schemas.microsoft.com/office/drawing/2014/main" id="{BAC764DF-8F17-3249-5FC6-173CC74112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20739" y="6491344"/>
            <a:ext cx="365760" cy="365760"/>
          </a:xfrm>
          <a:prstGeom prst="rect">
            <a:avLst/>
          </a:prstGeom>
        </p:spPr>
      </p:pic>
      <p:pic>
        <p:nvPicPr>
          <p:cNvPr id="22" name="Graphic 21" descr="Leaf with solid fill">
            <a:extLst>
              <a:ext uri="{FF2B5EF4-FFF2-40B4-BE49-F238E27FC236}">
                <a16:creationId xmlns:a16="http://schemas.microsoft.com/office/drawing/2014/main" id="{AE2D79EC-8525-CC2E-A3E4-017FACBBF1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405326" y="6487759"/>
            <a:ext cx="365760" cy="365760"/>
          </a:xfrm>
          <a:prstGeom prst="rect">
            <a:avLst/>
          </a:prstGeom>
        </p:spPr>
      </p:pic>
      <p:pic>
        <p:nvPicPr>
          <p:cNvPr id="23" name="Graphic 22" descr="Yoga with solid fill">
            <a:extLst>
              <a:ext uri="{FF2B5EF4-FFF2-40B4-BE49-F238E27FC236}">
                <a16:creationId xmlns:a16="http://schemas.microsoft.com/office/drawing/2014/main" id="{0FBA9538-3F12-8E24-AA6F-F0853102995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30773" y="6492240"/>
            <a:ext cx="365760" cy="365760"/>
          </a:xfrm>
          <a:prstGeom prst="rect">
            <a:avLst/>
          </a:prstGeom>
        </p:spPr>
      </p:pic>
      <p:sp>
        <p:nvSpPr>
          <p:cNvPr id="3" name="TextBox 2">
            <a:extLst>
              <a:ext uri="{FF2B5EF4-FFF2-40B4-BE49-F238E27FC236}">
                <a16:creationId xmlns:a16="http://schemas.microsoft.com/office/drawing/2014/main" id="{8AF1AA9C-3B9D-0928-ADA1-663473724A81}"/>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27685701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1908732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3. ThermaFLEX</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1734837191"/>
              </p:ext>
            </p:extLst>
          </p:nvPr>
        </p:nvGraphicFramePr>
        <p:xfrm>
          <a:off x="466725" y="1544755"/>
          <a:ext cx="5494460" cy="2054892"/>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4320">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494603">
                <a:tc>
                  <a:txBody>
                    <a:bodyPr/>
                    <a:lstStyle/>
                    <a:p>
                      <a:r>
                        <a:rPr lang="en-US" sz="1200" b="1"/>
                        <a:t>Description: </a:t>
                      </a:r>
                      <a:r>
                        <a:rPr lang="en-US" sz="1200" b="0"/>
                        <a:t>Aims to develop strategies and measures for making heat networks more flexible and increase the proportion of renewable heat used. </a:t>
                      </a:r>
                      <a:r>
                        <a:rPr lang="en-US" sz="1200" b="0">
                          <a:hlinkClick r:id="rId6"/>
                        </a:rPr>
                        <a:t>More info</a:t>
                      </a:r>
                      <a:r>
                        <a:rPr lang="en-US" sz="1200" b="0"/>
                        <a:t>.</a:t>
                      </a:r>
                      <a:endParaRPr lang="en-US" sz="1200"/>
                    </a:p>
                  </a:txBody>
                  <a:tcPr/>
                </a:tc>
                <a:extLst>
                  <a:ext uri="{0D108BD9-81ED-4DB2-BD59-A6C34878D82A}">
                    <a16:rowId xmlns:a16="http://schemas.microsoft.com/office/drawing/2014/main" val="1569062850"/>
                  </a:ext>
                </a:extLst>
              </a:tr>
              <a:tr h="296762">
                <a:tc>
                  <a:txBody>
                    <a:bodyPr/>
                    <a:lstStyle/>
                    <a:p>
                      <a:r>
                        <a:rPr lang="en-US" sz="1200" b="1"/>
                        <a:t>Countries: </a:t>
                      </a:r>
                      <a:r>
                        <a:rPr lang="en-US" sz="1200" b="0"/>
                        <a:t>Austria</a:t>
                      </a:r>
                      <a:endParaRPr lang="en-US" sz="1200"/>
                    </a:p>
                  </a:txBody>
                  <a:tcPr/>
                </a:tc>
                <a:extLst>
                  <a:ext uri="{0D108BD9-81ED-4DB2-BD59-A6C34878D82A}">
                    <a16:rowId xmlns:a16="http://schemas.microsoft.com/office/drawing/2014/main" val="3782471822"/>
                  </a:ext>
                </a:extLst>
              </a:tr>
              <a:tr h="692445">
                <a:tc>
                  <a:txBody>
                    <a:bodyPr/>
                    <a:lstStyle/>
                    <a:p>
                      <a:r>
                        <a:rPr lang="en-US" sz="1200" b="1"/>
                        <a:t>Organisations:</a:t>
                      </a:r>
                      <a:r>
                        <a:rPr lang="en-US" sz="1200"/>
                        <a:t> </a:t>
                      </a:r>
                    </a:p>
                    <a:p>
                      <a:r>
                        <a:rPr lang="en-US" sz="1200"/>
                        <a:t>Consortium leader</a:t>
                      </a:r>
                    </a:p>
                    <a:p>
                      <a:endParaRPr lang="en-US" sz="1200"/>
                    </a:p>
                  </a:txBody>
                  <a:tcPr/>
                </a:tc>
                <a:extLst>
                  <a:ext uri="{0D108BD9-81ED-4DB2-BD59-A6C34878D82A}">
                    <a16:rowId xmlns:a16="http://schemas.microsoft.com/office/drawing/2014/main" val="48156588"/>
                  </a:ext>
                </a:extLst>
              </a:tr>
              <a:tr h="296762">
                <a:tc>
                  <a:txBody>
                    <a:bodyPr/>
                    <a:lstStyle/>
                    <a:p>
                      <a:r>
                        <a:rPr lang="en-US" sz="1200" b="1"/>
                        <a:t>Dates: </a:t>
                      </a:r>
                      <a:r>
                        <a:rPr lang="en-US" sz="1200" b="0"/>
                        <a:t>November 2018 – October 2022</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306172530"/>
              </p:ext>
            </p:extLst>
          </p:nvPr>
        </p:nvGraphicFramePr>
        <p:xfrm>
          <a:off x="466725" y="3824648"/>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Every fourth house in Austria is already supplied by a heat network so a key driver for the project was ensuring heat supply remains affordable, secure and resilient.</a:t>
                      </a:r>
                    </a:p>
                    <a:p>
                      <a:pPr marL="171450" indent="-171450">
                        <a:buFont typeface="Arial" panose="020B0604020202020204" pitchFamily="34" charset="0"/>
                        <a:buChar char="•"/>
                      </a:pPr>
                      <a:r>
                        <a:rPr lang="en-US" sz="1200"/>
                        <a:t>The project focused on 10 demonstrator heat networks in Austria to test and evaluate various technical, non-technical and systemic measures.</a:t>
                      </a:r>
                    </a:p>
                    <a:p>
                      <a:pPr marL="171450" indent="-171450">
                        <a:buFont typeface="Arial" panose="020B0604020202020204" pitchFamily="34" charset="0"/>
                        <a:buChar char="•"/>
                      </a:pPr>
                      <a:r>
                        <a:rPr lang="en-US" sz="1200"/>
                        <a:t>The project utilised a wide range of heat sources and flexibility elements, with a central emphasis on heat storage, energy sector and infrastructure coupling, smart control concepts, large-scale heat pumps, solar thermal energy, and the utilisation of locally available heat and waste heat sources.</a:t>
                      </a:r>
                    </a:p>
                    <a:p>
                      <a:pPr marL="171450" indent="-171450">
                        <a:buFont typeface="Arial" panose="020B0604020202020204" pitchFamily="34" charset="0"/>
                        <a:buChar char="•"/>
                      </a:pPr>
                      <a:r>
                        <a:rPr lang="en-US" sz="1200"/>
                        <a:t>Note that, in this case, flexibility does not refer purely to electric load shifting but more broadly to the ability to adapt to different heat sources, smart controls, operating temperatures and conditions.</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1638096528"/>
              </p:ext>
            </p:extLst>
          </p:nvPr>
        </p:nvGraphicFramePr>
        <p:xfrm>
          <a:off x="6230815" y="2910248"/>
          <a:ext cx="5494460" cy="16459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37148">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777172">
                <a:tc>
                  <a:txBody>
                    <a:bodyPr/>
                    <a:lstStyle/>
                    <a:p>
                      <a:pPr marL="171450" indent="-171450">
                        <a:buFont typeface="Arial" panose="020B0604020202020204" pitchFamily="34" charset="0"/>
                        <a:buChar char="•"/>
                      </a:pPr>
                      <a:r>
                        <a:rPr lang="en-US" sz="1200"/>
                        <a:t>The project delivered a set of Best Practices outlining promising measures and demonstrating the technical, economic and ecological benefits of the concepts.</a:t>
                      </a:r>
                    </a:p>
                    <a:p>
                      <a:pPr marL="171450" indent="-171450">
                        <a:buFont typeface="Arial" panose="020B0604020202020204" pitchFamily="34" charset="0"/>
                        <a:buChar char="•"/>
                      </a:pPr>
                      <a:r>
                        <a:rPr lang="en-US" sz="1200"/>
                        <a:t>The measures deployed resulted in a significant increase in the share of renewable energy, as well as the decarbonisation and diversification of the demonstrator heat networks.</a:t>
                      </a:r>
                    </a:p>
                    <a:p>
                      <a:pPr marL="171450" indent="-171450">
                        <a:buFont typeface="Arial" panose="020B0604020202020204" pitchFamily="34" charset="0"/>
                        <a:buChar char="•"/>
                      </a:pPr>
                      <a:r>
                        <a:rPr lang="en-US" sz="1200"/>
                        <a:t>The project demonstrated the feasibility of implementing large-scale solutions within relatively short timeframes.</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309788317"/>
              </p:ext>
            </p:extLst>
          </p:nvPr>
        </p:nvGraphicFramePr>
        <p:xfrm>
          <a:off x="6230815" y="4739048"/>
          <a:ext cx="5494460" cy="14630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ThermaFLEX provides wide technical and non-technical knowledge for the </a:t>
                      </a:r>
                      <a:r>
                        <a:rPr lang="en-US" sz="1200" err="1"/>
                        <a:t>flexibilisation</a:t>
                      </a:r>
                      <a:r>
                        <a:rPr lang="en-US" sz="1200"/>
                        <a:t> of heat network systems, as well as their planning and operation.</a:t>
                      </a:r>
                    </a:p>
                    <a:p>
                      <a:pPr marL="171450" indent="-171450">
                        <a:buFont typeface="Arial" panose="020B0604020202020204" pitchFamily="34" charset="0"/>
                        <a:buChar char="•"/>
                      </a:pPr>
                      <a:r>
                        <a:rPr lang="en-US" sz="1200"/>
                        <a:t>The project showed that individual technologies are not as effective as combining different ideas to get the best out of innovation.</a:t>
                      </a:r>
                    </a:p>
                    <a:p>
                      <a:pPr marL="171450" indent="-171450">
                        <a:buFont typeface="Arial" panose="020B0604020202020204" pitchFamily="34" charset="0"/>
                        <a:buChar char="•"/>
                      </a:pPr>
                      <a:r>
                        <a:rPr lang="en-US" sz="1200"/>
                        <a:t>Extensive stakeholder engagement and dissemination was key to the project success and significantly increased the reach and impact of ThermaFLEX.</a:t>
                      </a:r>
                    </a:p>
                  </a:txBody>
                  <a:tcPr/>
                </a:tc>
                <a:extLst>
                  <a:ext uri="{0D108BD9-81ED-4DB2-BD59-A6C34878D82A}">
                    <a16:rowId xmlns:a16="http://schemas.microsoft.com/office/drawing/2014/main" val="1569062850"/>
                  </a:ext>
                </a:extLst>
              </a:tr>
            </a:tbl>
          </a:graphicData>
        </a:graphic>
      </p:graphicFrame>
      <p:pic>
        <p:nvPicPr>
          <p:cNvPr id="3074" name="Picture 2" descr="ThermaFLEX – Combining technical components, systemic approaches and non-technical measures for sustainable and flexible district heating in 10 demonstration sites.">
            <a:extLst>
              <a:ext uri="{FF2B5EF4-FFF2-40B4-BE49-F238E27FC236}">
                <a16:creationId xmlns:a16="http://schemas.microsoft.com/office/drawing/2014/main" id="{C2A70E64-6A01-D6F4-176B-F1C379DAA2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88388" y="801397"/>
            <a:ext cx="2582698" cy="193702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61411743-2D3E-F0E4-3CA3-1C318A03B25A}"/>
              </a:ext>
            </a:extLst>
          </p:cNvPr>
          <p:cNvSpPr txBox="1"/>
          <p:nvPr/>
        </p:nvSpPr>
        <p:spPr>
          <a:xfrm>
            <a:off x="2461336" y="2638042"/>
            <a:ext cx="1799948" cy="646331"/>
          </a:xfrm>
          <a:prstGeom prst="rect">
            <a:avLst/>
          </a:prstGeom>
          <a:noFill/>
        </p:spPr>
        <p:txBody>
          <a:bodyPr wrap="square">
            <a:spAutoFit/>
          </a:bodyPr>
          <a:lstStyle/>
          <a:p>
            <a:r>
              <a:rPr lang="en-US" sz="1200"/>
              <a:t>28 partners from the energy industry, R&amp;D and technology providers</a:t>
            </a:r>
          </a:p>
        </p:txBody>
      </p:sp>
      <p:pic>
        <p:nvPicPr>
          <p:cNvPr id="3076" name="Picture 4" descr="AEE INTEC - Solar Heat Europe">
            <a:extLst>
              <a:ext uri="{FF2B5EF4-FFF2-40B4-BE49-F238E27FC236}">
                <a16:creationId xmlns:a16="http://schemas.microsoft.com/office/drawing/2014/main" id="{9181BC64-8A7D-D37A-D1F0-6BB3644BDC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44243" y="2664673"/>
            <a:ext cx="447325" cy="57379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C1544552-C6D6-94A1-F071-04CA0FFF2CD8}"/>
              </a:ext>
            </a:extLst>
          </p:cNvPr>
          <p:cNvPicPr>
            <a:picLocks noChangeAspect="1"/>
          </p:cNvPicPr>
          <p:nvPr/>
        </p:nvPicPr>
        <p:blipFill>
          <a:blip r:embed="rId9"/>
          <a:stretch>
            <a:fillRect/>
          </a:stretch>
        </p:blipFill>
        <p:spPr>
          <a:xfrm>
            <a:off x="6230815" y="1054110"/>
            <a:ext cx="3135127" cy="1787115"/>
          </a:xfrm>
          <a:prstGeom prst="rect">
            <a:avLst/>
          </a:prstGeom>
        </p:spPr>
      </p:pic>
      <p:pic>
        <p:nvPicPr>
          <p:cNvPr id="17" name="Graphic 16" descr="Full battery with solid fill">
            <a:extLst>
              <a:ext uri="{FF2B5EF4-FFF2-40B4-BE49-F238E27FC236}">
                <a16:creationId xmlns:a16="http://schemas.microsoft.com/office/drawing/2014/main" id="{491F18CA-5CD9-0C4D-DBE3-180D722722E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20739" y="6491344"/>
            <a:ext cx="365760" cy="365760"/>
          </a:xfrm>
          <a:prstGeom prst="rect">
            <a:avLst/>
          </a:prstGeom>
        </p:spPr>
      </p:pic>
      <p:pic>
        <p:nvPicPr>
          <p:cNvPr id="18" name="Graphic 17" descr="Leaf with solid fill">
            <a:extLst>
              <a:ext uri="{FF2B5EF4-FFF2-40B4-BE49-F238E27FC236}">
                <a16:creationId xmlns:a16="http://schemas.microsoft.com/office/drawing/2014/main" id="{78DB7CD7-FEAF-DF4E-D5BE-B451154098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405326" y="6487759"/>
            <a:ext cx="365760" cy="365760"/>
          </a:xfrm>
          <a:prstGeom prst="rect">
            <a:avLst/>
          </a:prstGeom>
        </p:spPr>
      </p:pic>
      <p:pic>
        <p:nvPicPr>
          <p:cNvPr id="19" name="Graphic 18" descr="Yoga with solid fill">
            <a:extLst>
              <a:ext uri="{FF2B5EF4-FFF2-40B4-BE49-F238E27FC236}">
                <a16:creationId xmlns:a16="http://schemas.microsoft.com/office/drawing/2014/main" id="{17150D16-19C2-66B2-E593-74FC6CCD6D7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630773" y="6492240"/>
            <a:ext cx="365760" cy="365760"/>
          </a:xfrm>
          <a:prstGeom prst="rect">
            <a:avLst/>
          </a:prstGeom>
        </p:spPr>
      </p:pic>
      <p:sp>
        <p:nvSpPr>
          <p:cNvPr id="3" name="TextBox 2">
            <a:extLst>
              <a:ext uri="{FF2B5EF4-FFF2-40B4-BE49-F238E27FC236}">
                <a16:creationId xmlns:a16="http://schemas.microsoft.com/office/drawing/2014/main" id="{C1B8C4E1-75D7-5406-2DFF-8BC9AA0A7B8F}"/>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27546283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2940221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4. Flex heat networks</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2824626725"/>
              </p:ext>
            </p:extLst>
          </p:nvPr>
        </p:nvGraphicFramePr>
        <p:xfrm>
          <a:off x="466725" y="1544755"/>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dirty="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dirty="0"/>
                        <a:t>Description: </a:t>
                      </a:r>
                      <a:r>
                        <a:rPr lang="en-US" sz="1200" b="0" dirty="0"/>
                        <a:t>NIA project investigating how electric heat networks could affect the power grid and how the Distribution Network Operator can manage them flexibly. </a:t>
                      </a:r>
                      <a:r>
                        <a:rPr lang="en-US" sz="1200" b="0" dirty="0">
                          <a:hlinkClick r:id="rId6"/>
                        </a:rPr>
                        <a:t>More info</a:t>
                      </a:r>
                      <a:r>
                        <a:rPr lang="en-US" sz="1200" b="0" dirty="0"/>
                        <a:t>.</a:t>
                      </a:r>
                    </a:p>
                  </a:txBody>
                  <a:tcPr/>
                </a:tc>
                <a:extLst>
                  <a:ext uri="{0D108BD9-81ED-4DB2-BD59-A6C34878D82A}">
                    <a16:rowId xmlns:a16="http://schemas.microsoft.com/office/drawing/2014/main" val="1569062850"/>
                  </a:ext>
                </a:extLst>
              </a:tr>
              <a:tr h="117167">
                <a:tc>
                  <a:txBody>
                    <a:bodyPr/>
                    <a:lstStyle/>
                    <a:p>
                      <a:r>
                        <a:rPr lang="en-US" sz="1200" b="1"/>
                        <a:t>Countries:</a:t>
                      </a:r>
                      <a:r>
                        <a:rPr lang="en-US" sz="1200"/>
                        <a:t> United Kingdom</a:t>
                      </a:r>
                    </a:p>
                  </a:txBody>
                  <a:tcPr/>
                </a:tc>
                <a:extLst>
                  <a:ext uri="{0D108BD9-81ED-4DB2-BD59-A6C34878D82A}">
                    <a16:rowId xmlns:a16="http://schemas.microsoft.com/office/drawing/2014/main" val="3782471822"/>
                  </a:ext>
                </a:extLst>
              </a:tr>
              <a:tr h="117167">
                <a:tc>
                  <a:txBody>
                    <a:bodyPr/>
                    <a:lstStyle/>
                    <a:p>
                      <a:r>
                        <a:rPr lang="en-US" sz="1200" b="1" dirty="0"/>
                        <a:t>Organisations:</a:t>
                      </a:r>
                      <a:r>
                        <a:rPr lang="en-US" sz="1200" dirty="0"/>
                        <a:t> </a:t>
                      </a:r>
                    </a:p>
                    <a:p>
                      <a:r>
                        <a:rPr lang="en-US" sz="1200" dirty="0"/>
                        <a:t>Arup, Bring Energy, ERM</a:t>
                      </a:r>
                    </a:p>
                    <a:p>
                      <a:endParaRPr lang="en-US" sz="1200" dirty="0"/>
                    </a:p>
                  </a:txBody>
                  <a:tcPr/>
                </a:tc>
                <a:extLst>
                  <a:ext uri="{0D108BD9-81ED-4DB2-BD59-A6C34878D82A}">
                    <a16:rowId xmlns:a16="http://schemas.microsoft.com/office/drawing/2014/main" val="48156588"/>
                  </a:ext>
                </a:extLst>
              </a:tr>
              <a:tr h="117167">
                <a:tc>
                  <a:txBody>
                    <a:bodyPr/>
                    <a:lstStyle/>
                    <a:p>
                      <a:r>
                        <a:rPr lang="en-US" sz="1200" b="1" dirty="0"/>
                        <a:t>Dates:</a:t>
                      </a:r>
                      <a:r>
                        <a:rPr lang="en-US" sz="1200" dirty="0"/>
                        <a:t> July 2023 – April 2025</a:t>
                      </a:r>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3702652608"/>
              </p:ext>
            </p:extLst>
          </p:nvPr>
        </p:nvGraphicFramePr>
        <p:xfrm>
          <a:off x="466725" y="3824648"/>
          <a:ext cx="5494460" cy="219456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dirty="0"/>
                        <a:t>Approach</a:t>
                      </a:r>
                    </a:p>
                  </a:txBody>
                  <a:tcPr>
                    <a:solidFill>
                      <a:srgbClr val="9C1420"/>
                    </a:solidFill>
                  </a:tcPr>
                </a:tc>
                <a:extLst>
                  <a:ext uri="{0D108BD9-81ED-4DB2-BD59-A6C34878D82A}">
                    <a16:rowId xmlns:a16="http://schemas.microsoft.com/office/drawing/2014/main" val="1789174452"/>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dentified Bring Energy and its Olympic Park heat network as a case study for HNO decarbonisation to test and validate the approa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esktop analysis and stakeholder engagement to obtain insights into the operational and design characteristics of heat net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evelop and validate an optimisation methodology using modelling which balances heat network performance with electricity connection cost constraints.</a:t>
                      </a:r>
                    </a:p>
                    <a:p>
                      <a:pPr marL="171450" indent="-171450">
                        <a:buFont typeface="Arial" panose="020B0604020202020204" pitchFamily="34" charset="0"/>
                        <a:buChar char="•"/>
                      </a:pPr>
                      <a:r>
                        <a:rPr lang="en-US" sz="1200" dirty="0"/>
                        <a:t>Perform techno-economic analysis of 15 electrification scenarios, examining trade-offs between electricity connection costs and heat network performance.</a:t>
                      </a:r>
                    </a:p>
                    <a:p>
                      <a:pPr marL="171450" indent="-171450">
                        <a:buFont typeface="Arial" panose="020B0604020202020204" pitchFamily="34" charset="0"/>
                        <a:buChar char="•"/>
                      </a:pPr>
                      <a:r>
                        <a:rPr lang="en-US" sz="1200" dirty="0"/>
                        <a:t>Develop strategic outline business case to articulate the benefits of flexible electrification of heat networks.</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3406968013"/>
              </p:ext>
            </p:extLst>
          </p:nvPr>
        </p:nvGraphicFramePr>
        <p:xfrm>
          <a:off x="6276626" y="1544755"/>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5956">
                <a:tc>
                  <a:txBody>
                    <a:bodyPr/>
                    <a:lstStyle/>
                    <a:p>
                      <a:r>
                        <a:rPr lang="en-US" sz="1200" dirty="0"/>
                        <a:t>Outcomes</a:t>
                      </a:r>
                    </a:p>
                  </a:txBody>
                  <a:tcPr>
                    <a:solidFill>
                      <a:srgbClr val="9C1420"/>
                    </a:solidFill>
                  </a:tcPr>
                </a:tc>
                <a:extLst>
                  <a:ext uri="{0D108BD9-81ED-4DB2-BD59-A6C34878D82A}">
                    <a16:rowId xmlns:a16="http://schemas.microsoft.com/office/drawing/2014/main" val="1789174452"/>
                  </a:ext>
                </a:extLst>
              </a:tr>
              <a:tr h="1827164">
                <a:tc>
                  <a:txBody>
                    <a:bodyPr/>
                    <a:lstStyle/>
                    <a:p>
                      <a:pPr marL="171450" indent="-171450">
                        <a:buFont typeface="Arial" panose="020B0604020202020204" pitchFamily="34" charset="0"/>
                        <a:buChar char="•"/>
                      </a:pPr>
                      <a:r>
                        <a:rPr lang="en-US" sz="1200" dirty="0"/>
                        <a:t>The project has demonstrated a clear business case for integrating flexibility into heat network planning.</a:t>
                      </a:r>
                    </a:p>
                    <a:p>
                      <a:pPr marL="171450" indent="-171450">
                        <a:buFont typeface="Arial" panose="020B0604020202020204" pitchFamily="34" charset="0"/>
                        <a:buChar char="•"/>
                      </a:pPr>
                      <a:r>
                        <a:rPr lang="en-US" sz="1200" dirty="0"/>
                        <a:t>With the Heatropolis project looking at large-scale trials, it was decided that Flex heat networks would close down rather than also moving to trial to avoid duplication of efforts. </a:t>
                      </a:r>
                    </a:p>
                    <a:p>
                      <a:pPr marL="171450" indent="-171450">
                        <a:buFont typeface="Arial" panose="020B0604020202020204" pitchFamily="34" charset="0"/>
                        <a:buChar char="•"/>
                      </a:pPr>
                      <a:r>
                        <a:rPr lang="en-US" sz="1200" dirty="0"/>
                        <a:t>A new project called Heatscape will be launched to focus on mapping of current and future heat networks. This will look at the existing pipeline of heat networks. It will also look at existing heat networks to understand their current operational behaviours with gas CHP and what their impact on the grid will be if they electrify.</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1620099465"/>
              </p:ext>
            </p:extLst>
          </p:nvPr>
        </p:nvGraphicFramePr>
        <p:xfrm>
          <a:off x="6276626" y="3824648"/>
          <a:ext cx="5494460" cy="219456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5202">
                <a:tc>
                  <a:txBody>
                    <a:bodyPr/>
                    <a:lstStyle/>
                    <a:p>
                      <a:r>
                        <a:rPr lang="en-US" sz="1200" dirty="0"/>
                        <a:t>Learnings for Heatropolis</a:t>
                      </a:r>
                    </a:p>
                  </a:txBody>
                  <a:tcPr>
                    <a:solidFill>
                      <a:srgbClr val="9C1420"/>
                    </a:solidFill>
                  </a:tcPr>
                </a:tc>
                <a:extLst>
                  <a:ext uri="{0D108BD9-81ED-4DB2-BD59-A6C34878D82A}">
                    <a16:rowId xmlns:a16="http://schemas.microsoft.com/office/drawing/2014/main" val="1789174452"/>
                  </a:ext>
                </a:extLst>
              </a:tr>
              <a:tr h="1919358">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takeholder engagement confirmed the importance of coordinated planning between DSOs, HNOs and connection partners to ensure realistic, efficient and timely connection schemes.</a:t>
                      </a:r>
                    </a:p>
                    <a:p>
                      <a:pPr marL="171450" indent="-171450">
                        <a:buFont typeface="Arial" panose="020B0604020202020204" pitchFamily="34" charset="0"/>
                        <a:buChar char="•"/>
                      </a:pPr>
                      <a:r>
                        <a:rPr lang="en-US" sz="1200" dirty="0"/>
                        <a:t>The new Heatscape project, which will launch in 2025, could provide valuable insights and data for Heatropolis. The two projects should seek to collaborate and share learnings wherever possible. Any modelling done by Heatscape on future pipeline of electrified HNOs will be valuable to supporting the Heatropolis cost benefit analysis.</a:t>
                      </a:r>
                    </a:p>
                  </a:txBody>
                  <a:tcPr/>
                </a:tc>
                <a:extLst>
                  <a:ext uri="{0D108BD9-81ED-4DB2-BD59-A6C34878D82A}">
                    <a16:rowId xmlns:a16="http://schemas.microsoft.com/office/drawing/2014/main" val="1569062850"/>
                  </a:ext>
                </a:extLst>
              </a:tr>
            </a:tbl>
          </a:graphicData>
        </a:graphic>
      </p:graphicFrame>
      <p:pic>
        <p:nvPicPr>
          <p:cNvPr id="4104" name="Picture 8" descr="UK Power Networks logo - deX">
            <a:extLst>
              <a:ext uri="{FF2B5EF4-FFF2-40B4-BE49-F238E27FC236}">
                <a16:creationId xmlns:a16="http://schemas.microsoft.com/office/drawing/2014/main" id="{818754BF-FCAB-EC64-4F0D-F59A91AE280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00572" y="2767852"/>
            <a:ext cx="2658035" cy="553758"/>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30773" y="6492240"/>
            <a:ext cx="365760" cy="365760"/>
          </a:xfrm>
          <a:prstGeom prst="rect">
            <a:avLst/>
          </a:prstGeom>
        </p:spPr>
      </p:pic>
      <p:sp>
        <p:nvSpPr>
          <p:cNvPr id="4" name="TextBox 3">
            <a:extLst>
              <a:ext uri="{FF2B5EF4-FFF2-40B4-BE49-F238E27FC236}">
                <a16:creationId xmlns:a16="http://schemas.microsoft.com/office/drawing/2014/main" id="{24E2B799-67D9-2A44-9A67-6D318D0041B2}"/>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7811792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2360496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5. ENABLE DHC</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687441646"/>
              </p:ext>
            </p:extLst>
          </p:nvPr>
        </p:nvGraphicFramePr>
        <p:xfrm>
          <a:off x="466725" y="1544755"/>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a:t>Description: </a:t>
                      </a:r>
                      <a:r>
                        <a:rPr lang="en-US" sz="1200" b="0"/>
                        <a:t>EU funded project supporting district heating network operators in the development on their decarbonisation plans and switch to efficient networks as defined in the Energy Efficiency Directive. </a:t>
                      </a:r>
                      <a:r>
                        <a:rPr lang="en-US" sz="1200" b="0">
                          <a:hlinkClick r:id="rId6"/>
                        </a:rPr>
                        <a:t>More info</a:t>
                      </a:r>
                      <a:r>
                        <a:rPr lang="en-US" sz="1200" b="0"/>
                        <a:t>.</a:t>
                      </a:r>
                    </a:p>
                  </a:txBody>
                  <a:tcPr/>
                </a:tc>
                <a:extLst>
                  <a:ext uri="{0D108BD9-81ED-4DB2-BD59-A6C34878D82A}">
                    <a16:rowId xmlns:a16="http://schemas.microsoft.com/office/drawing/2014/main" val="1569062850"/>
                  </a:ext>
                </a:extLst>
              </a:tr>
              <a:tr h="117167">
                <a:tc>
                  <a:txBody>
                    <a:bodyPr/>
                    <a:lstStyle/>
                    <a:p>
                      <a:r>
                        <a:rPr lang="en-US" sz="1200" b="1"/>
                        <a:t>Countries: </a:t>
                      </a:r>
                      <a:r>
                        <a:rPr lang="en-US" sz="1200" b="0"/>
                        <a:t>Austria, Belgium, Croatia, Germany, Ireland, Italy, Latvia, Slovenia, Ukraine</a:t>
                      </a:r>
                      <a:endParaRPr lang="en-US" sz="1200"/>
                    </a:p>
                  </a:txBody>
                  <a:tcPr/>
                </a:tc>
                <a:extLst>
                  <a:ext uri="{0D108BD9-81ED-4DB2-BD59-A6C34878D82A}">
                    <a16:rowId xmlns:a16="http://schemas.microsoft.com/office/drawing/2014/main" val="3782471822"/>
                  </a:ext>
                </a:extLst>
              </a:tr>
              <a:tr h="117167">
                <a:tc>
                  <a:txBody>
                    <a:bodyPr/>
                    <a:lstStyle/>
                    <a:p>
                      <a:r>
                        <a:rPr lang="en-US" sz="1200" b="1"/>
                        <a:t>Organisations:</a:t>
                      </a:r>
                      <a:r>
                        <a:rPr lang="en-US" sz="1200"/>
                        <a:t> </a:t>
                      </a:r>
                    </a:p>
                    <a:p>
                      <a:r>
                        <a:rPr lang="en-US" sz="1200"/>
                        <a:t>Coordinator:</a:t>
                      </a:r>
                    </a:p>
                    <a:p>
                      <a:endParaRPr lang="en-US" sz="1200"/>
                    </a:p>
                  </a:txBody>
                  <a:tcPr/>
                </a:tc>
                <a:extLst>
                  <a:ext uri="{0D108BD9-81ED-4DB2-BD59-A6C34878D82A}">
                    <a16:rowId xmlns:a16="http://schemas.microsoft.com/office/drawing/2014/main" val="48156588"/>
                  </a:ext>
                </a:extLst>
              </a:tr>
              <a:tr h="117167">
                <a:tc>
                  <a:txBody>
                    <a:bodyPr/>
                    <a:lstStyle/>
                    <a:p>
                      <a:r>
                        <a:rPr lang="en-US" sz="1200" b="1"/>
                        <a:t>Dates:</a:t>
                      </a:r>
                      <a:r>
                        <a:rPr lang="en-US" sz="1200"/>
                        <a:t> April 2024 – March 2027</a:t>
                      </a:r>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385193307"/>
              </p:ext>
            </p:extLst>
          </p:nvPr>
        </p:nvGraphicFramePr>
        <p:xfrm>
          <a:off x="466725" y="3824648"/>
          <a:ext cx="5494460" cy="16459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e project will develop 9 case studies of investment plans in 7 countries, with a key focus on digitalisation, sector integration and policy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Analysis of the context and of the reference framework of local heat net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Interaction and cooperation with relevant stakehold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Assessment of technical feasibility and overall sustainability of a range of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Development of detailed financial plans and business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Creation of roadmaps and position papers, handbooks, and capacity building.</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4196580839"/>
              </p:ext>
            </p:extLst>
          </p:nvPr>
        </p:nvGraphicFramePr>
        <p:xfrm>
          <a:off x="466725" y="5647341"/>
          <a:ext cx="5494460" cy="7315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The project will encourage replication of successful practices through strategic investment planning, stakeholder engagement and dissemination activities.</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3533904505"/>
              </p:ext>
            </p:extLst>
          </p:nvPr>
        </p:nvGraphicFramePr>
        <p:xfrm>
          <a:off x="6276626" y="5098701"/>
          <a:ext cx="5494460" cy="128016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The project will include an assessment of options for heat networks to participate in short term electricity markets by providing balancing/flexibility, electricity/gas networks constraints and capacity markets, which would be a valuable learning for Heatropolis.</a:t>
                      </a:r>
                    </a:p>
                    <a:p>
                      <a:pPr marL="171450" indent="-171450">
                        <a:buFont typeface="Arial" panose="020B0604020202020204" pitchFamily="34" charset="0"/>
                        <a:buChar char="•"/>
                      </a:pPr>
                      <a:r>
                        <a:rPr lang="en-US" sz="1200">
                          <a:solidFill>
                            <a:schemeClr val="accent2"/>
                          </a:solidFill>
                        </a:rPr>
                        <a:t>Check on updates and published results in next Horizon Scan.</a:t>
                      </a:r>
                    </a:p>
                  </a:txBody>
                  <a:tcPr/>
                </a:tc>
                <a:extLst>
                  <a:ext uri="{0D108BD9-81ED-4DB2-BD59-A6C34878D82A}">
                    <a16:rowId xmlns:a16="http://schemas.microsoft.com/office/drawing/2014/main" val="1569062850"/>
                  </a:ext>
                </a:extLst>
              </a:tr>
            </a:tbl>
          </a:graphicData>
        </a:graphic>
      </p:graphicFrame>
      <p:sp>
        <p:nvSpPr>
          <p:cNvPr id="7" name="TextBox 6">
            <a:extLst>
              <a:ext uri="{FF2B5EF4-FFF2-40B4-BE49-F238E27FC236}">
                <a16:creationId xmlns:a16="http://schemas.microsoft.com/office/drawing/2014/main" id="{0568C6A9-132D-576D-6B70-BC37060DF609}"/>
              </a:ext>
            </a:extLst>
          </p:cNvPr>
          <p:cNvSpPr txBox="1"/>
          <p:nvPr/>
        </p:nvSpPr>
        <p:spPr>
          <a:xfrm>
            <a:off x="2837852" y="2850117"/>
            <a:ext cx="2200311" cy="461665"/>
          </a:xfrm>
          <a:prstGeom prst="rect">
            <a:avLst/>
          </a:prstGeom>
          <a:noFill/>
        </p:spPr>
        <p:txBody>
          <a:bodyPr wrap="square">
            <a:spAutoFit/>
          </a:bodyPr>
          <a:lstStyle/>
          <a:p>
            <a:r>
              <a:rPr lang="en-US" sz="1200"/>
              <a:t>12 partner organisations across the 9 participating countries</a:t>
            </a:r>
          </a:p>
        </p:txBody>
      </p:sp>
      <p:pic>
        <p:nvPicPr>
          <p:cNvPr id="5122" name="Picture 2">
            <a:extLst>
              <a:ext uri="{FF2B5EF4-FFF2-40B4-BE49-F238E27FC236}">
                <a16:creationId xmlns:a16="http://schemas.microsoft.com/office/drawing/2014/main" id="{D6266656-AE9B-DF73-C7C4-D42A8CC428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2334" y="1544972"/>
            <a:ext cx="4603043" cy="3404991"/>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pic>
        <p:nvPicPr>
          <p:cNvPr id="5124" name="Picture 4" descr="Ambiente Italia - Tecnologia a servizio dell'ecologia">
            <a:extLst>
              <a:ext uri="{FF2B5EF4-FFF2-40B4-BE49-F238E27FC236}">
                <a16:creationId xmlns:a16="http://schemas.microsoft.com/office/drawing/2014/main" id="{6045C7C2-C5C6-B862-74EC-0AB9DDA5AFB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73830" y="2857223"/>
            <a:ext cx="1088688" cy="339081"/>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descr="Full battery with solid fill">
            <a:extLst>
              <a:ext uri="{FF2B5EF4-FFF2-40B4-BE49-F238E27FC236}">
                <a16:creationId xmlns:a16="http://schemas.microsoft.com/office/drawing/2014/main" id="{178B615C-72EF-7619-2723-49CE6BDDF6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020739" y="6491344"/>
            <a:ext cx="365760" cy="365760"/>
          </a:xfrm>
          <a:prstGeom prst="rect">
            <a:avLst/>
          </a:prstGeom>
        </p:spPr>
      </p:pic>
      <p:pic>
        <p:nvPicPr>
          <p:cNvPr id="13" name="Graphic 12" descr="Leaf with solid fill">
            <a:extLst>
              <a:ext uri="{FF2B5EF4-FFF2-40B4-BE49-F238E27FC236}">
                <a16:creationId xmlns:a16="http://schemas.microsoft.com/office/drawing/2014/main" id="{DFDB93CE-1127-A2F9-3184-FB6711E8EBC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405326" y="6487759"/>
            <a:ext cx="365760" cy="365760"/>
          </a:xfrm>
          <a:prstGeom prst="rect">
            <a:avLst/>
          </a:prstGeom>
        </p:spPr>
      </p:pic>
      <p:pic>
        <p:nvPicPr>
          <p:cNvPr id="14" name="Graphic 13" descr="Yoga with solid fill">
            <a:extLst>
              <a:ext uri="{FF2B5EF4-FFF2-40B4-BE49-F238E27FC236}">
                <a16:creationId xmlns:a16="http://schemas.microsoft.com/office/drawing/2014/main" id="{636DFE99-1FB8-C06D-6B99-337CCB5A92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630773" y="6492240"/>
            <a:ext cx="365760" cy="365760"/>
          </a:xfrm>
          <a:prstGeom prst="rect">
            <a:avLst/>
          </a:prstGeom>
        </p:spPr>
      </p:pic>
      <p:sp>
        <p:nvSpPr>
          <p:cNvPr id="3" name="TextBox 2">
            <a:extLst>
              <a:ext uri="{FF2B5EF4-FFF2-40B4-BE49-F238E27FC236}">
                <a16:creationId xmlns:a16="http://schemas.microsoft.com/office/drawing/2014/main" id="{C982BF27-8655-0F86-D65A-9610CE31E2DC}"/>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23436047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120033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nchor="t">
            <a:noAutofit/>
          </a:bodyPr>
          <a:lstStyle/>
          <a:p>
            <a:r>
              <a:rPr lang="en-US"/>
              <a:t>6. Thermochemical storage utilisation enabling data centre seasonal energy recovery (THUNDER)</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3629879940"/>
              </p:ext>
            </p:extLst>
          </p:nvPr>
        </p:nvGraphicFramePr>
        <p:xfrm>
          <a:off x="466725" y="1544755"/>
          <a:ext cx="5494460" cy="228600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a:t>Description: </a:t>
                      </a:r>
                      <a:r>
                        <a:rPr lang="en-US" sz="1200" b="0"/>
                        <a:t>EU funded project aiming to overcome barriers to adoption of data centre waste heat recovery. The project will develop sustainable strategies and seasonal storage solutions to supply heat to neighbouring heat networks while providing heating/cooling to the data centres. </a:t>
                      </a:r>
                      <a:r>
                        <a:rPr lang="en-US" sz="1200" b="0">
                          <a:hlinkClick r:id="rId6"/>
                        </a:rPr>
                        <a:t>More info</a:t>
                      </a:r>
                      <a:r>
                        <a:rPr lang="en-US" sz="1200" b="0"/>
                        <a:t>.</a:t>
                      </a:r>
                    </a:p>
                  </a:txBody>
                  <a:tcPr/>
                </a:tc>
                <a:extLst>
                  <a:ext uri="{0D108BD9-81ED-4DB2-BD59-A6C34878D82A}">
                    <a16:rowId xmlns:a16="http://schemas.microsoft.com/office/drawing/2014/main" val="1569062850"/>
                  </a:ext>
                </a:extLst>
              </a:tr>
              <a:tr h="117167">
                <a:tc>
                  <a:txBody>
                    <a:bodyPr/>
                    <a:lstStyle/>
                    <a:p>
                      <a:r>
                        <a:rPr lang="en-US" sz="1200" b="1"/>
                        <a:t>Countries: </a:t>
                      </a:r>
                      <a:r>
                        <a:rPr lang="en-US" sz="1200" b="0"/>
                        <a:t>Bulgaria, Italy, Belgium, Greece, Spain, Sweden, United Kingdom</a:t>
                      </a:r>
                      <a:endParaRPr lang="en-US" sz="1200"/>
                    </a:p>
                  </a:txBody>
                  <a:tcPr/>
                </a:tc>
                <a:extLst>
                  <a:ext uri="{0D108BD9-81ED-4DB2-BD59-A6C34878D82A}">
                    <a16:rowId xmlns:a16="http://schemas.microsoft.com/office/drawing/2014/main" val="3782471822"/>
                  </a:ext>
                </a:extLst>
              </a:tr>
              <a:tr h="117167">
                <a:tc>
                  <a:txBody>
                    <a:bodyPr/>
                    <a:lstStyle/>
                    <a:p>
                      <a:r>
                        <a:rPr lang="en-US" sz="1200" b="1"/>
                        <a:t>Organisations:</a:t>
                      </a:r>
                      <a:r>
                        <a:rPr lang="en-US" sz="1200"/>
                        <a:t> </a:t>
                      </a:r>
                    </a:p>
                    <a:p>
                      <a:r>
                        <a:rPr lang="en-US" sz="1200"/>
                        <a:t>Coordinator:</a:t>
                      </a:r>
                    </a:p>
                    <a:p>
                      <a:endParaRPr lang="en-US" sz="1200"/>
                    </a:p>
                  </a:txBody>
                  <a:tcPr/>
                </a:tc>
                <a:extLst>
                  <a:ext uri="{0D108BD9-81ED-4DB2-BD59-A6C34878D82A}">
                    <a16:rowId xmlns:a16="http://schemas.microsoft.com/office/drawing/2014/main" val="48156588"/>
                  </a:ext>
                </a:extLst>
              </a:tr>
              <a:tr h="117167">
                <a:tc>
                  <a:txBody>
                    <a:bodyPr/>
                    <a:lstStyle/>
                    <a:p>
                      <a:r>
                        <a:rPr lang="en-US" sz="1200" b="1"/>
                        <a:t>Dates: </a:t>
                      </a:r>
                      <a:r>
                        <a:rPr lang="en-US" sz="1200" b="0"/>
                        <a:t>January 2024 – January 2028</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2086513846"/>
              </p:ext>
            </p:extLst>
          </p:nvPr>
        </p:nvGraphicFramePr>
        <p:xfrm>
          <a:off x="466725" y="4179331"/>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182880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is project is targeting the use of thermochemical storage technologies to accumulate heat during summertime and release it into the heat network in the winter period. This storage material have been selected for their compact storage capacity, and near-zero thermal lo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is will be tested in field at the Varna Demo site in Bulgaria. Replicability assessments and pre-feasibility analysis will be developed for 10 further demo sites across Euro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e project will also deliver novel business and financial models.</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746724543"/>
              </p:ext>
            </p:extLst>
          </p:nvPr>
        </p:nvGraphicFramePr>
        <p:xfrm>
          <a:off x="6276626" y="4179331"/>
          <a:ext cx="5494460" cy="91440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Expected outcomes include assessment of innovative thermochemical materials for storage applications and advanced control logics for the system </a:t>
                      </a:r>
                      <a:r>
                        <a:rPr lang="en-US" sz="1200" err="1"/>
                        <a:t>optimised</a:t>
                      </a:r>
                      <a:r>
                        <a:rPr lang="en-US" sz="1200"/>
                        <a:t> controls.</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2387937688"/>
              </p:ext>
            </p:extLst>
          </p:nvPr>
        </p:nvGraphicFramePr>
        <p:xfrm>
          <a:off x="6276626" y="5368051"/>
          <a:ext cx="5494460" cy="91440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THUNDER will deliver learnings about the use of thermochemical storage for heat networks, as well as seasonal heat flexibility potenti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accent2"/>
                          </a:solidFill>
                        </a:rPr>
                        <a:t>Check on updates and published results in next Horizon Scan.</a:t>
                      </a:r>
                    </a:p>
                  </a:txBody>
                  <a:tcPr/>
                </a:tc>
                <a:extLst>
                  <a:ext uri="{0D108BD9-81ED-4DB2-BD59-A6C34878D82A}">
                    <a16:rowId xmlns:a16="http://schemas.microsoft.com/office/drawing/2014/main" val="1569062850"/>
                  </a:ext>
                </a:extLst>
              </a:tr>
            </a:tbl>
          </a:graphicData>
        </a:graphic>
      </p:graphicFrame>
      <p:sp>
        <p:nvSpPr>
          <p:cNvPr id="24" name="TextBox 23">
            <a:extLst>
              <a:ext uri="{FF2B5EF4-FFF2-40B4-BE49-F238E27FC236}">
                <a16:creationId xmlns:a16="http://schemas.microsoft.com/office/drawing/2014/main" id="{7ECE2810-DE8D-89AC-E45A-65F0DD57A6F5}"/>
              </a:ext>
            </a:extLst>
          </p:cNvPr>
          <p:cNvSpPr txBox="1"/>
          <p:nvPr/>
        </p:nvSpPr>
        <p:spPr>
          <a:xfrm>
            <a:off x="2891641" y="3011483"/>
            <a:ext cx="2200311" cy="461665"/>
          </a:xfrm>
          <a:prstGeom prst="rect">
            <a:avLst/>
          </a:prstGeom>
          <a:noFill/>
        </p:spPr>
        <p:txBody>
          <a:bodyPr wrap="square">
            <a:spAutoFit/>
          </a:bodyPr>
          <a:lstStyle/>
          <a:p>
            <a:r>
              <a:rPr lang="en-US" sz="1200"/>
              <a:t>13 partner organisations across the 7 participating countries</a:t>
            </a:r>
          </a:p>
        </p:txBody>
      </p:sp>
      <p:pic>
        <p:nvPicPr>
          <p:cNvPr id="6148" name="Picture 4">
            <a:extLst>
              <a:ext uri="{FF2B5EF4-FFF2-40B4-BE49-F238E27FC236}">
                <a16:creationId xmlns:a16="http://schemas.microsoft.com/office/drawing/2014/main" id="{662A6DEF-BC70-5FF8-2324-D9E4097EF6F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573" t="12157" r="21103" b="14640"/>
          <a:stretch/>
        </p:blipFill>
        <p:spPr bwMode="auto">
          <a:xfrm>
            <a:off x="7377953" y="1544755"/>
            <a:ext cx="3281082" cy="2398703"/>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RINA-C CONSULTING S.P.A. (Italy) - Senator">
            <a:extLst>
              <a:ext uri="{FF2B5EF4-FFF2-40B4-BE49-F238E27FC236}">
                <a16:creationId xmlns:a16="http://schemas.microsoft.com/office/drawing/2014/main" id="{3D7F5EC5-5668-028D-3E56-18EAB6CACF4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2106" t="31310" r="18925" b="27484"/>
          <a:stretch/>
        </p:blipFill>
        <p:spPr bwMode="auto">
          <a:xfrm>
            <a:off x="1783690" y="2966657"/>
            <a:ext cx="792510" cy="55131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Info Media - THUNDER">
            <a:extLst>
              <a:ext uri="{FF2B5EF4-FFF2-40B4-BE49-F238E27FC236}">
                <a16:creationId xmlns:a16="http://schemas.microsoft.com/office/drawing/2014/main" id="{B8A3320D-6061-77FC-F90D-A153FDCB676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8055" y="2418998"/>
            <a:ext cx="870415" cy="650215"/>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descr="Full battery with solid fill">
            <a:extLst>
              <a:ext uri="{FF2B5EF4-FFF2-40B4-BE49-F238E27FC236}">
                <a16:creationId xmlns:a16="http://schemas.microsoft.com/office/drawing/2014/main" id="{7AE59706-6974-44F6-3A42-3331FB772C0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20739" y="6491344"/>
            <a:ext cx="365760" cy="365760"/>
          </a:xfrm>
          <a:prstGeom prst="rect">
            <a:avLst/>
          </a:prstGeom>
        </p:spPr>
      </p:pic>
      <p:pic>
        <p:nvPicPr>
          <p:cNvPr id="28" name="Graphic 27" descr="Leaf with solid fill">
            <a:extLst>
              <a:ext uri="{FF2B5EF4-FFF2-40B4-BE49-F238E27FC236}">
                <a16:creationId xmlns:a16="http://schemas.microsoft.com/office/drawing/2014/main" id="{62EB7136-9C67-38A5-1E55-3E9821A764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405326" y="6487759"/>
            <a:ext cx="365760" cy="365760"/>
          </a:xfrm>
          <a:prstGeom prst="rect">
            <a:avLst/>
          </a:prstGeom>
        </p:spPr>
      </p:pic>
      <p:pic>
        <p:nvPicPr>
          <p:cNvPr id="29" name="Graphic 28" descr="Yoga with solid fill">
            <a:extLst>
              <a:ext uri="{FF2B5EF4-FFF2-40B4-BE49-F238E27FC236}">
                <a16:creationId xmlns:a16="http://schemas.microsoft.com/office/drawing/2014/main" id="{BC6286D4-1325-0D8D-E114-B4636764A8D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630773" y="6492240"/>
            <a:ext cx="365760" cy="365760"/>
          </a:xfrm>
          <a:prstGeom prst="rect">
            <a:avLst/>
          </a:prstGeom>
        </p:spPr>
      </p:pic>
      <p:sp>
        <p:nvSpPr>
          <p:cNvPr id="3" name="TextBox 2">
            <a:extLst>
              <a:ext uri="{FF2B5EF4-FFF2-40B4-BE49-F238E27FC236}">
                <a16:creationId xmlns:a16="http://schemas.microsoft.com/office/drawing/2014/main" id="{FD1695A1-D415-20B1-D36F-52D3715BA5F9}"/>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3031122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7495D45-9897-C324-9B32-2DE0D082BA24}"/>
              </a:ext>
            </a:extLst>
          </p:cNvPr>
          <p:cNvGraphicFramePr>
            <a:graphicFrameLocks noChangeAspect="1"/>
          </p:cNvGraphicFramePr>
          <p:nvPr>
            <p:custDataLst>
              <p:tags r:id="rId1"/>
            </p:custDataLst>
            <p:extLst>
              <p:ext uri="{D42A27DB-BD31-4B8C-83A1-F6EECF244321}">
                <p14:modId xmlns:p14="http://schemas.microsoft.com/office/powerpoint/2010/main" val="1002461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27495D45-9897-C324-9B32-2DE0D082B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1B569AF-D1FC-37CF-90A2-2FE51EDE245D}"/>
              </a:ext>
            </a:extLst>
          </p:cNvPr>
          <p:cNvSpPr>
            <a:spLocks noGrp="1"/>
          </p:cNvSpPr>
          <p:nvPr>
            <p:ph type="title"/>
          </p:nvPr>
        </p:nvSpPr>
        <p:spPr/>
        <p:txBody>
          <a:bodyPr vert="horz"/>
          <a:lstStyle/>
          <a:p>
            <a:r>
              <a:rPr lang="en-US"/>
              <a:t>Horizon Scan Contents</a:t>
            </a:r>
          </a:p>
        </p:txBody>
      </p:sp>
      <p:sp>
        <p:nvSpPr>
          <p:cNvPr id="7" name="Content Placeholder 6">
            <a:extLst>
              <a:ext uri="{FF2B5EF4-FFF2-40B4-BE49-F238E27FC236}">
                <a16:creationId xmlns:a16="http://schemas.microsoft.com/office/drawing/2014/main" id="{8CFC1FBD-E566-694F-4742-E22F3016C650}"/>
              </a:ext>
            </a:extLst>
          </p:cNvPr>
          <p:cNvSpPr>
            <a:spLocks noGrp="1"/>
          </p:cNvSpPr>
          <p:nvPr>
            <p:ph idx="1"/>
          </p:nvPr>
        </p:nvSpPr>
        <p:spPr/>
        <p:txBody>
          <a:bodyPr/>
          <a:lstStyle/>
          <a:p>
            <a:pPr marL="457200" indent="-457200">
              <a:buFont typeface="+mj-lt"/>
              <a:buAutoNum type="arabicPeriod"/>
            </a:pPr>
            <a:r>
              <a:rPr lang="en-US"/>
              <a:t>Introduction to Horizon Scan</a:t>
            </a:r>
          </a:p>
          <a:p>
            <a:pPr marL="457200" indent="-457200">
              <a:buFont typeface="+mj-lt"/>
              <a:buAutoNum type="arabicPeriod"/>
            </a:pPr>
            <a:endParaRPr lang="en-US"/>
          </a:p>
          <a:p>
            <a:pPr marL="457200" indent="-457200">
              <a:buFont typeface="+mj-lt"/>
              <a:buAutoNum type="arabicPeriod"/>
            </a:pPr>
            <a:r>
              <a:rPr lang="en-US"/>
              <a:t>Heat Network Deployment</a:t>
            </a:r>
          </a:p>
          <a:p>
            <a:pPr marL="457200" indent="-457200">
              <a:buFont typeface="+mj-lt"/>
              <a:buAutoNum type="arabicPeriod"/>
            </a:pPr>
            <a:endParaRPr lang="en-US"/>
          </a:p>
          <a:p>
            <a:pPr marL="457200" indent="-457200">
              <a:buFont typeface="+mj-lt"/>
              <a:buAutoNum type="arabicPeriod"/>
            </a:pPr>
            <a:r>
              <a:rPr lang="en-US"/>
              <a:t>Relevant Projects &amp; Studies</a:t>
            </a:r>
          </a:p>
          <a:p>
            <a:pPr marL="457200" indent="-457200">
              <a:buFont typeface="+mj-lt"/>
              <a:buAutoNum type="arabicPeriod"/>
            </a:pPr>
            <a:endParaRPr lang="en-US"/>
          </a:p>
          <a:p>
            <a:pPr marL="457200" indent="-457200">
              <a:buFont typeface="+mj-lt"/>
              <a:buAutoNum type="arabicPeriod"/>
            </a:pPr>
            <a:r>
              <a:rPr lang="en-US"/>
              <a:t>UK Policy &amp; Regulatory Landscape</a:t>
            </a:r>
          </a:p>
        </p:txBody>
      </p:sp>
    </p:spTree>
    <p:extLst>
      <p:ext uri="{BB962C8B-B14F-4D97-AF65-F5344CB8AC3E}">
        <p14:creationId xmlns:p14="http://schemas.microsoft.com/office/powerpoint/2010/main" val="33132775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78489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7. TREASURE</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1795734155"/>
              </p:ext>
            </p:extLst>
          </p:nvPr>
        </p:nvGraphicFramePr>
        <p:xfrm>
          <a:off x="466725" y="1428215"/>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6675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389099">
                <a:tc>
                  <a:txBody>
                    <a:bodyPr/>
                    <a:lstStyle/>
                    <a:p>
                      <a:r>
                        <a:rPr lang="en-US" sz="1200" b="1"/>
                        <a:t>Description: </a:t>
                      </a:r>
                      <a:r>
                        <a:rPr lang="en-US" sz="1200" b="0"/>
                        <a:t>EU funded project demonstrating and improving large pit thermal energy storages for an accelerated </a:t>
                      </a:r>
                      <a:r>
                        <a:rPr lang="en-US" sz="1200" b="0" err="1"/>
                        <a:t>realisation</a:t>
                      </a:r>
                      <a:r>
                        <a:rPr lang="en-US" sz="1200" b="0"/>
                        <a:t> of sustainable district heating networks in Europe. </a:t>
                      </a:r>
                      <a:r>
                        <a:rPr lang="en-US" sz="1200" b="0">
                          <a:hlinkClick r:id="rId6"/>
                        </a:rPr>
                        <a:t>More info</a:t>
                      </a:r>
                      <a:r>
                        <a:rPr lang="en-US" sz="1200" b="0"/>
                        <a:t>.</a:t>
                      </a:r>
                    </a:p>
                  </a:txBody>
                  <a:tcPr/>
                </a:tc>
                <a:extLst>
                  <a:ext uri="{0D108BD9-81ED-4DB2-BD59-A6C34878D82A}">
                    <a16:rowId xmlns:a16="http://schemas.microsoft.com/office/drawing/2014/main" val="1569062850"/>
                  </a:ext>
                </a:extLst>
              </a:tr>
              <a:tr h="166757">
                <a:tc>
                  <a:txBody>
                    <a:bodyPr/>
                    <a:lstStyle/>
                    <a:p>
                      <a:r>
                        <a:rPr lang="en-US" sz="1200" b="1"/>
                        <a:t>Countries: </a:t>
                      </a:r>
                      <a:r>
                        <a:rPr lang="en-US" sz="1200" b="0"/>
                        <a:t>Austria, Belgium, Czechia, Denmark, France, Germany, Poland</a:t>
                      </a:r>
                      <a:endParaRPr lang="en-US" sz="1200"/>
                    </a:p>
                  </a:txBody>
                  <a:tcPr/>
                </a:tc>
                <a:extLst>
                  <a:ext uri="{0D108BD9-81ED-4DB2-BD59-A6C34878D82A}">
                    <a16:rowId xmlns:a16="http://schemas.microsoft.com/office/drawing/2014/main" val="3782471822"/>
                  </a:ext>
                </a:extLst>
              </a:tr>
              <a:tr h="389099">
                <a:tc>
                  <a:txBody>
                    <a:bodyPr/>
                    <a:lstStyle/>
                    <a:p>
                      <a:r>
                        <a:rPr lang="en-US" sz="1200" b="1"/>
                        <a:t>Organisations:</a:t>
                      </a:r>
                      <a:r>
                        <a:rPr lang="en-US" sz="1200"/>
                        <a:t> </a:t>
                      </a:r>
                    </a:p>
                    <a:p>
                      <a:r>
                        <a:rPr lang="en-US" sz="1200"/>
                        <a:t>Coordinator: </a:t>
                      </a:r>
                    </a:p>
                    <a:p>
                      <a:endParaRPr lang="en-US" sz="1200"/>
                    </a:p>
                  </a:txBody>
                  <a:tcPr/>
                </a:tc>
                <a:extLst>
                  <a:ext uri="{0D108BD9-81ED-4DB2-BD59-A6C34878D82A}">
                    <a16:rowId xmlns:a16="http://schemas.microsoft.com/office/drawing/2014/main" val="48156588"/>
                  </a:ext>
                </a:extLst>
              </a:tr>
              <a:tr h="166757">
                <a:tc>
                  <a:txBody>
                    <a:bodyPr/>
                    <a:lstStyle/>
                    <a:p>
                      <a:r>
                        <a:rPr lang="en-US" sz="1200" b="1"/>
                        <a:t>Dates: </a:t>
                      </a:r>
                      <a:r>
                        <a:rPr lang="en-US" sz="1200" b="0"/>
                        <a:t>January 2024 – December 2027</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2324168764"/>
              </p:ext>
            </p:extLst>
          </p:nvPr>
        </p:nvGraphicFramePr>
        <p:xfrm>
          <a:off x="466725" y="3619721"/>
          <a:ext cx="5494460" cy="16459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327642">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rough 7 demonstration projects across 5 countries, this project will refine storage technologies, leveraging data from existing projects in continuous improv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Establish a benchmark for PTES systems, making them more financially viable, quicker to deploy, energy efficient and supported by a robust expert netwo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o find possible solutions to the financing, permitting and social challenges in the </a:t>
                      </a:r>
                      <a:r>
                        <a:rPr lang="en-US" sz="1200" err="1"/>
                        <a:t>realisation</a:t>
                      </a:r>
                      <a:r>
                        <a:rPr lang="en-US" sz="1200"/>
                        <a:t> of large pit thermal energy storage (PTES) projects.</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3400662144"/>
              </p:ext>
            </p:extLst>
          </p:nvPr>
        </p:nvGraphicFramePr>
        <p:xfrm>
          <a:off x="466725" y="5354028"/>
          <a:ext cx="5494460" cy="109728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307709">
                <a:tc>
                  <a:txBody>
                    <a:bodyPr/>
                    <a:lstStyle/>
                    <a:p>
                      <a:pPr marL="171450" indent="-171450">
                        <a:buFont typeface="Arial" panose="020B0604020202020204" pitchFamily="34" charset="0"/>
                        <a:buChar char="•"/>
                      </a:pPr>
                      <a:r>
                        <a:rPr lang="en-US" sz="1200"/>
                        <a:t>Deliver 3 operational and monitored large PTES demonstrators and 4 additional demonstrators in an earlier stage of development.</a:t>
                      </a:r>
                    </a:p>
                    <a:p>
                      <a:pPr marL="171450" indent="-171450">
                        <a:buFont typeface="Arial" panose="020B0604020202020204" pitchFamily="34" charset="0"/>
                        <a:buChar char="•"/>
                      </a:pPr>
                      <a:r>
                        <a:rPr lang="en-US" sz="1200"/>
                        <a:t>Dissemination of developed roadmap and generated knowledge to accelerate the aim of realising over 2000 large PTES crucial for a decarbonised energy system.</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1637758447"/>
              </p:ext>
            </p:extLst>
          </p:nvPr>
        </p:nvGraphicFramePr>
        <p:xfrm>
          <a:off x="6276626" y="4988268"/>
          <a:ext cx="5494460" cy="14630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Decarbonised heating systems based on renewable and waste heat sources are challenging due to the intermittency and mismatch of supply and demand. Thermal energy storage is a potential solution to store excess heat during periods of abundance and release it when demand peaks. This project will deliver advancements and learnings on the use of PTES for heat net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accent2"/>
                          </a:solidFill>
                        </a:rPr>
                        <a:t>Check on updates and published results in next Horizon Scan.</a:t>
                      </a:r>
                    </a:p>
                  </a:txBody>
                  <a:tcPr/>
                </a:tc>
                <a:extLst>
                  <a:ext uri="{0D108BD9-81ED-4DB2-BD59-A6C34878D82A}">
                    <a16:rowId xmlns:a16="http://schemas.microsoft.com/office/drawing/2014/main" val="1569062850"/>
                  </a:ext>
                </a:extLst>
              </a:tr>
            </a:tbl>
          </a:graphicData>
        </a:graphic>
      </p:graphicFrame>
      <p:pic>
        <p:nvPicPr>
          <p:cNvPr id="8" name="Picture 4" descr="AEE INTEC - Solar Heat Europe">
            <a:extLst>
              <a:ext uri="{FF2B5EF4-FFF2-40B4-BE49-F238E27FC236}">
                <a16:creationId xmlns:a16="http://schemas.microsoft.com/office/drawing/2014/main" id="{71A1EAE0-C859-7DAA-DC70-D15C4A50A3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44243" y="2655711"/>
            <a:ext cx="447325" cy="57379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E9BD4C0-FB53-8FA1-705C-414476344478}"/>
              </a:ext>
            </a:extLst>
          </p:cNvPr>
          <p:cNvSpPr txBox="1"/>
          <p:nvPr/>
        </p:nvSpPr>
        <p:spPr>
          <a:xfrm>
            <a:off x="2891641" y="2706683"/>
            <a:ext cx="2200311" cy="461665"/>
          </a:xfrm>
          <a:prstGeom prst="rect">
            <a:avLst/>
          </a:prstGeom>
          <a:noFill/>
        </p:spPr>
        <p:txBody>
          <a:bodyPr wrap="square">
            <a:spAutoFit/>
          </a:bodyPr>
          <a:lstStyle/>
          <a:p>
            <a:r>
              <a:rPr lang="en-US" sz="1200"/>
              <a:t>22 partner organisations across the participating countries</a:t>
            </a:r>
          </a:p>
        </p:txBody>
      </p:sp>
      <p:pic>
        <p:nvPicPr>
          <p:cNvPr id="7172" name="Picture 4" descr="TREASURE">
            <a:extLst>
              <a:ext uri="{FF2B5EF4-FFF2-40B4-BE49-F238E27FC236}">
                <a16:creationId xmlns:a16="http://schemas.microsoft.com/office/drawing/2014/main" id="{CB1F05C3-9D48-C5A4-D4BC-D25B6FB961A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10640" y="4123825"/>
            <a:ext cx="2628125" cy="56395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1C530DF-45B5-696E-E090-F0EBEAD24849}"/>
              </a:ext>
            </a:extLst>
          </p:cNvPr>
          <p:cNvPicPr>
            <a:picLocks noChangeAspect="1"/>
          </p:cNvPicPr>
          <p:nvPr/>
        </p:nvPicPr>
        <p:blipFill>
          <a:blip r:embed="rId9"/>
          <a:stretch>
            <a:fillRect/>
          </a:stretch>
        </p:blipFill>
        <p:spPr>
          <a:xfrm>
            <a:off x="6119022" y="1399575"/>
            <a:ext cx="3866402" cy="2553860"/>
          </a:xfrm>
          <a:prstGeom prst="rect">
            <a:avLst/>
          </a:prstGeom>
          <a:ln w="3175">
            <a:noFill/>
          </a:ln>
        </p:spPr>
      </p:pic>
      <p:pic>
        <p:nvPicPr>
          <p:cNvPr id="19" name="Picture 18">
            <a:extLst>
              <a:ext uri="{FF2B5EF4-FFF2-40B4-BE49-F238E27FC236}">
                <a16:creationId xmlns:a16="http://schemas.microsoft.com/office/drawing/2014/main" id="{4D176DC7-2EC0-59E0-AA6F-7528DC0FAA31}"/>
              </a:ext>
            </a:extLst>
          </p:cNvPr>
          <p:cNvPicPr>
            <a:picLocks noChangeAspect="1"/>
          </p:cNvPicPr>
          <p:nvPr/>
        </p:nvPicPr>
        <p:blipFill>
          <a:blip r:embed="rId10"/>
          <a:stretch>
            <a:fillRect/>
          </a:stretch>
        </p:blipFill>
        <p:spPr>
          <a:xfrm>
            <a:off x="9071742" y="3167675"/>
            <a:ext cx="2653533" cy="1645920"/>
          </a:xfrm>
          <a:prstGeom prst="rect">
            <a:avLst/>
          </a:prstGeom>
        </p:spPr>
      </p:pic>
      <p:pic>
        <p:nvPicPr>
          <p:cNvPr id="21" name="Graphic 20" descr="Full battery with solid fill">
            <a:extLst>
              <a:ext uri="{FF2B5EF4-FFF2-40B4-BE49-F238E27FC236}">
                <a16:creationId xmlns:a16="http://schemas.microsoft.com/office/drawing/2014/main" id="{E459477B-19B9-3FC8-1D8E-64FB26DA81A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20739" y="6491344"/>
            <a:ext cx="365760" cy="365760"/>
          </a:xfrm>
          <a:prstGeom prst="rect">
            <a:avLst/>
          </a:prstGeom>
        </p:spPr>
      </p:pic>
      <p:pic>
        <p:nvPicPr>
          <p:cNvPr id="22" name="Graphic 21" descr="Leaf with solid fill">
            <a:extLst>
              <a:ext uri="{FF2B5EF4-FFF2-40B4-BE49-F238E27FC236}">
                <a16:creationId xmlns:a16="http://schemas.microsoft.com/office/drawing/2014/main" id="{4615648C-CCAA-4772-0AEC-25AB73C94E5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405326" y="6487759"/>
            <a:ext cx="365760" cy="365760"/>
          </a:xfrm>
          <a:prstGeom prst="rect">
            <a:avLst/>
          </a:prstGeom>
        </p:spPr>
      </p:pic>
      <p:pic>
        <p:nvPicPr>
          <p:cNvPr id="23" name="Graphic 22" descr="Yoga with solid fill">
            <a:extLst>
              <a:ext uri="{FF2B5EF4-FFF2-40B4-BE49-F238E27FC236}">
                <a16:creationId xmlns:a16="http://schemas.microsoft.com/office/drawing/2014/main" id="{EA6EC3FA-E077-93D5-8403-74205ECDA4B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630773" y="6492240"/>
            <a:ext cx="365760" cy="365760"/>
          </a:xfrm>
          <a:prstGeom prst="rect">
            <a:avLst/>
          </a:prstGeom>
        </p:spPr>
      </p:pic>
      <p:sp>
        <p:nvSpPr>
          <p:cNvPr id="3" name="TextBox 2">
            <a:extLst>
              <a:ext uri="{FF2B5EF4-FFF2-40B4-BE49-F238E27FC236}">
                <a16:creationId xmlns:a16="http://schemas.microsoft.com/office/drawing/2014/main" id="{E15D87DA-BB0A-0F58-FDB3-19FF67AE807B}"/>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3691914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30057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8. USES4HEAT</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630413840"/>
              </p:ext>
            </p:extLst>
          </p:nvPr>
        </p:nvGraphicFramePr>
        <p:xfrm>
          <a:off x="466725" y="1544755"/>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a:t>Description: </a:t>
                      </a:r>
                      <a:r>
                        <a:rPr lang="en-US" sz="1200" b="0"/>
                        <a:t>EU funded project aiming to prove and demonstrate the effectiveness and viability of large-scale, seasonal, underground thermal storage for reliable and decarbonised heat supply. </a:t>
                      </a:r>
                      <a:r>
                        <a:rPr lang="en-US" sz="1200" b="0">
                          <a:hlinkClick r:id="rId6"/>
                        </a:rPr>
                        <a:t>More info</a:t>
                      </a:r>
                      <a:r>
                        <a:rPr lang="en-US" sz="1200" b="0"/>
                        <a:t>.</a:t>
                      </a:r>
                    </a:p>
                  </a:txBody>
                  <a:tcPr/>
                </a:tc>
                <a:extLst>
                  <a:ext uri="{0D108BD9-81ED-4DB2-BD59-A6C34878D82A}">
                    <a16:rowId xmlns:a16="http://schemas.microsoft.com/office/drawing/2014/main" val="1569062850"/>
                  </a:ext>
                </a:extLst>
              </a:tr>
              <a:tr h="117167">
                <a:tc>
                  <a:txBody>
                    <a:bodyPr/>
                    <a:lstStyle/>
                    <a:p>
                      <a:r>
                        <a:rPr lang="en-US" sz="1200" b="1"/>
                        <a:t>Countries: </a:t>
                      </a:r>
                      <a:r>
                        <a:rPr lang="en-US" sz="1200" b="0"/>
                        <a:t>Sweden, Italy, Norway, Croatia, Bulgaria, Greece</a:t>
                      </a:r>
                      <a:endParaRPr lang="en-US" sz="1200"/>
                    </a:p>
                  </a:txBody>
                  <a:tcPr/>
                </a:tc>
                <a:extLst>
                  <a:ext uri="{0D108BD9-81ED-4DB2-BD59-A6C34878D82A}">
                    <a16:rowId xmlns:a16="http://schemas.microsoft.com/office/drawing/2014/main" val="3782471822"/>
                  </a:ext>
                </a:extLst>
              </a:tr>
              <a:tr h="117167">
                <a:tc>
                  <a:txBody>
                    <a:bodyPr/>
                    <a:lstStyle/>
                    <a:p>
                      <a:r>
                        <a:rPr lang="en-US" sz="1200" b="1"/>
                        <a:t>Organisations:</a:t>
                      </a:r>
                      <a:r>
                        <a:rPr lang="en-US" sz="1200"/>
                        <a:t> </a:t>
                      </a:r>
                    </a:p>
                    <a:p>
                      <a:r>
                        <a:rPr lang="en-US" sz="1200"/>
                        <a:t>Coordinator:</a:t>
                      </a:r>
                    </a:p>
                    <a:p>
                      <a:endParaRPr lang="en-US" sz="1200"/>
                    </a:p>
                  </a:txBody>
                  <a:tcPr/>
                </a:tc>
                <a:extLst>
                  <a:ext uri="{0D108BD9-81ED-4DB2-BD59-A6C34878D82A}">
                    <a16:rowId xmlns:a16="http://schemas.microsoft.com/office/drawing/2014/main" val="48156588"/>
                  </a:ext>
                </a:extLst>
              </a:tr>
              <a:tr h="117167">
                <a:tc>
                  <a:txBody>
                    <a:bodyPr/>
                    <a:lstStyle/>
                    <a:p>
                      <a:r>
                        <a:rPr lang="en-US" sz="1200" b="1"/>
                        <a:t>Dates: </a:t>
                      </a:r>
                      <a:r>
                        <a:rPr lang="en-US" sz="1200" b="0"/>
                        <a:t>December 2023 – December 2027</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3035425530"/>
              </p:ext>
            </p:extLst>
          </p:nvPr>
        </p:nvGraphicFramePr>
        <p:xfrm>
          <a:off x="466725" y="3824647"/>
          <a:ext cx="5494460" cy="218739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6617">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191077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Implement 2 demonstration sites in Italy and Norway to demonstrate large-scale, seasonal, underground thermal energy storage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4 replicator sites will learn from the demonstrators and apply the results in their decarbonisation pathwa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Develop six key enabling innovative technologies, including drilling solutions, highly efficient solar solutions, and AI driven analytics based predictive energy softw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Promote the solutions across the EU and beyond and facilitate market uptake and widespread </a:t>
                      </a:r>
                      <a:r>
                        <a:rPr lang="en-US" sz="1200" err="1"/>
                        <a:t>commercialisation</a:t>
                      </a:r>
                      <a:r>
                        <a:rPr lang="en-US" sz="1200"/>
                        <a:t>.</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1892337286"/>
              </p:ext>
            </p:extLst>
          </p:nvPr>
        </p:nvGraphicFramePr>
        <p:xfrm>
          <a:off x="6276626" y="3824648"/>
          <a:ext cx="5494460" cy="109728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dirty="0"/>
                        <a:t>Maximise availability and resilience of heat supply while </a:t>
                      </a:r>
                      <a:r>
                        <a:rPr lang="en-US" sz="1200" dirty="0" err="1"/>
                        <a:t>minimising</a:t>
                      </a:r>
                      <a:r>
                        <a:rPr lang="en-US" sz="1200" dirty="0"/>
                        <a:t> losses and environmental impacts from the heat storage.</a:t>
                      </a:r>
                    </a:p>
                    <a:p>
                      <a:pPr marL="171450" indent="-171450">
                        <a:buFont typeface="Arial" panose="020B0604020202020204" pitchFamily="34" charset="0"/>
                        <a:buChar char="•"/>
                      </a:pPr>
                      <a:r>
                        <a:rPr lang="en-US" sz="1200" dirty="0"/>
                        <a:t>Demonstrate the storage units as fully integrated into large-scale district heating networks and industrial waste heat recovery.</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535442450"/>
              </p:ext>
            </p:extLst>
          </p:nvPr>
        </p:nvGraphicFramePr>
        <p:xfrm>
          <a:off x="6276626" y="5097637"/>
          <a:ext cx="5494460" cy="91440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is project will deliver advancements and learnings on the use of large-scale underground thermal energy storage for heat net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accent2"/>
                          </a:solidFill>
                        </a:rPr>
                        <a:t>Check on updates and published results in next Horizon Scan.</a:t>
                      </a:r>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30773" y="6492240"/>
            <a:ext cx="365760" cy="365760"/>
          </a:xfrm>
          <a:prstGeom prst="rect">
            <a:avLst/>
          </a:prstGeom>
        </p:spPr>
      </p:pic>
      <p:sp>
        <p:nvSpPr>
          <p:cNvPr id="7" name="TextBox 6">
            <a:extLst>
              <a:ext uri="{FF2B5EF4-FFF2-40B4-BE49-F238E27FC236}">
                <a16:creationId xmlns:a16="http://schemas.microsoft.com/office/drawing/2014/main" id="{29F5E1EF-A68A-6844-1555-49C0E23D348A}"/>
              </a:ext>
            </a:extLst>
          </p:cNvPr>
          <p:cNvSpPr txBox="1"/>
          <p:nvPr/>
        </p:nvSpPr>
        <p:spPr>
          <a:xfrm>
            <a:off x="2488230" y="2823120"/>
            <a:ext cx="2200311" cy="461665"/>
          </a:xfrm>
          <a:prstGeom prst="rect">
            <a:avLst/>
          </a:prstGeom>
          <a:noFill/>
        </p:spPr>
        <p:txBody>
          <a:bodyPr wrap="square">
            <a:spAutoFit/>
          </a:bodyPr>
          <a:lstStyle/>
          <a:p>
            <a:r>
              <a:rPr lang="en-US" sz="1200"/>
              <a:t>27 partner organisations across the participating countries</a:t>
            </a:r>
          </a:p>
        </p:txBody>
      </p:sp>
      <p:pic>
        <p:nvPicPr>
          <p:cNvPr id="8202" name="Picture 10" descr="KTH Logo">
            <a:extLst>
              <a:ext uri="{FF2B5EF4-FFF2-40B4-BE49-F238E27FC236}">
                <a16:creationId xmlns:a16="http://schemas.microsoft.com/office/drawing/2014/main" id="{3FA8BE27-7262-24BA-1532-38B08017CA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60497" y="2769223"/>
            <a:ext cx="506186" cy="569460"/>
          </a:xfrm>
          <a:prstGeom prst="rect">
            <a:avLst/>
          </a:prstGeom>
          <a:noFill/>
          <a:extLst>
            <a:ext uri="{909E8E84-426E-40DD-AFC4-6F175D3DCCD1}">
              <a14:hiddenFill xmlns:a14="http://schemas.microsoft.com/office/drawing/2010/main">
                <a:solidFill>
                  <a:srgbClr val="FFFFFF"/>
                </a:solidFill>
              </a14:hiddenFill>
            </a:ext>
          </a:extLst>
        </p:spPr>
      </p:pic>
      <p:pic>
        <p:nvPicPr>
          <p:cNvPr id="8204" name="Picture 12">
            <a:extLst>
              <a:ext uri="{FF2B5EF4-FFF2-40B4-BE49-F238E27FC236}">
                <a16:creationId xmlns:a16="http://schemas.microsoft.com/office/drawing/2014/main" id="{D239BC4A-E234-0DA9-CCE2-357F30415E7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276626" y="1535241"/>
            <a:ext cx="5526979" cy="18862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482EC2A-9FA1-ADED-558E-D4191731A41C}"/>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19064272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3794420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9. RE-PEAK</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4057464417"/>
              </p:ext>
            </p:extLst>
          </p:nvPr>
        </p:nvGraphicFramePr>
        <p:xfrm>
          <a:off x="466725" y="1544755"/>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a:t>Description: </a:t>
                      </a:r>
                      <a:r>
                        <a:rPr lang="en-US" sz="1200" b="0"/>
                        <a:t>IEA funded project aiming to better understand the challenge of supplying peak heat loads in a decarbonised heat network and identify carbon-free energy sources suitable for peak heat supply. </a:t>
                      </a:r>
                      <a:r>
                        <a:rPr lang="en-US" sz="1200" b="0">
                          <a:hlinkClick r:id="rId6"/>
                        </a:rPr>
                        <a:t>More info</a:t>
                      </a:r>
                      <a:r>
                        <a:rPr lang="en-US" sz="1200" b="0"/>
                        <a:t>.</a:t>
                      </a:r>
                    </a:p>
                  </a:txBody>
                  <a:tcPr/>
                </a:tc>
                <a:extLst>
                  <a:ext uri="{0D108BD9-81ED-4DB2-BD59-A6C34878D82A}">
                    <a16:rowId xmlns:a16="http://schemas.microsoft.com/office/drawing/2014/main" val="1569062850"/>
                  </a:ext>
                </a:extLst>
              </a:tr>
              <a:tr h="117167">
                <a:tc>
                  <a:txBody>
                    <a:bodyPr/>
                    <a:lstStyle/>
                    <a:p>
                      <a:r>
                        <a:rPr lang="en-US" sz="1200" b="1"/>
                        <a:t>Countries: </a:t>
                      </a:r>
                      <a:r>
                        <a:rPr lang="en-US" sz="1200" b="0"/>
                        <a:t>Austria, Belgium, Estonia</a:t>
                      </a:r>
                      <a:endParaRPr lang="en-US" sz="1200"/>
                    </a:p>
                  </a:txBody>
                  <a:tcPr/>
                </a:tc>
                <a:extLst>
                  <a:ext uri="{0D108BD9-81ED-4DB2-BD59-A6C34878D82A}">
                    <a16:rowId xmlns:a16="http://schemas.microsoft.com/office/drawing/2014/main" val="3782471822"/>
                  </a:ext>
                </a:extLst>
              </a:tr>
              <a:tr h="117167">
                <a:tc>
                  <a:txBody>
                    <a:bodyPr/>
                    <a:lstStyle/>
                    <a:p>
                      <a:r>
                        <a:rPr lang="en-US" sz="1200" b="1"/>
                        <a:t>Organisations:</a:t>
                      </a:r>
                      <a:r>
                        <a:rPr lang="en-US" sz="1200"/>
                        <a:t> </a:t>
                      </a:r>
                    </a:p>
                    <a:p>
                      <a:endParaRPr lang="en-US" sz="1200"/>
                    </a:p>
                    <a:p>
                      <a:endParaRPr lang="en-US" sz="1200"/>
                    </a:p>
                  </a:txBody>
                  <a:tcPr/>
                </a:tc>
                <a:extLst>
                  <a:ext uri="{0D108BD9-81ED-4DB2-BD59-A6C34878D82A}">
                    <a16:rowId xmlns:a16="http://schemas.microsoft.com/office/drawing/2014/main" val="48156588"/>
                  </a:ext>
                </a:extLst>
              </a:tr>
              <a:tr h="117167">
                <a:tc>
                  <a:txBody>
                    <a:bodyPr/>
                    <a:lstStyle/>
                    <a:p>
                      <a:r>
                        <a:rPr lang="en-US" sz="1200" b="1"/>
                        <a:t>Dates: </a:t>
                      </a:r>
                      <a:r>
                        <a:rPr lang="en-US" sz="1200" b="0"/>
                        <a:t>November 2023 – April 2025</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2145696289"/>
              </p:ext>
            </p:extLst>
          </p:nvPr>
        </p:nvGraphicFramePr>
        <p:xfrm>
          <a:off x="466725" y="3824648"/>
          <a:ext cx="5494460" cy="14630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Use modelling to derive a taxonomy of peak heat loads, classified according to criteria such as temperature level, network size and maximum loa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Collect empirical data through engagement and surveys with heat network operators to understand their internal definitions of peak heat load and their perceptions on transitioning to climate neutral peak heat supp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Perform a SWOT analysis of various options, particularly “benchmark renewables”.</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3367442973"/>
              </p:ext>
            </p:extLst>
          </p:nvPr>
        </p:nvGraphicFramePr>
        <p:xfrm>
          <a:off x="6276626" y="1544754"/>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7634">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1825486">
                <a:tc>
                  <a:txBody>
                    <a:bodyPr/>
                    <a:lstStyle/>
                    <a:p>
                      <a:pPr marL="171450" indent="-171450">
                        <a:buFont typeface="Arial" panose="020B0604020202020204" pitchFamily="34" charset="0"/>
                        <a:buChar char="•"/>
                      </a:pPr>
                      <a:r>
                        <a:rPr lang="en-US" sz="1200"/>
                        <a:t>The project is expected to deliver recommendations and a self-assessment tool for heat network operators to assess their peak heat decarbonisation options.</a:t>
                      </a:r>
                    </a:p>
                    <a:p>
                      <a:pPr marL="171450" indent="-171450">
                        <a:buFont typeface="Arial" panose="020B0604020202020204" pitchFamily="34" charset="0"/>
                        <a:buChar char="•"/>
                      </a:pPr>
                      <a:r>
                        <a:rPr lang="en-US" sz="1200"/>
                        <a:t>It will also provide policymakers and branch organisations with an illustrative summary allowing them to directly compare options and their strengths and weaknesses.</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1281064696"/>
              </p:ext>
            </p:extLst>
          </p:nvPr>
        </p:nvGraphicFramePr>
        <p:xfrm>
          <a:off x="6276626" y="3824648"/>
          <a:ext cx="5494460" cy="14630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The results of the research done on heat networks operators direction and attitude to </a:t>
                      </a:r>
                      <a:r>
                        <a:rPr lang="en-US" sz="1200" err="1"/>
                        <a:t>decarbonise</a:t>
                      </a:r>
                      <a:r>
                        <a:rPr lang="en-US" sz="1200"/>
                        <a:t> heat load will provide useful context for future heat supply technologies and how these could be incorporated into the Heatropolis solution.</a:t>
                      </a:r>
                    </a:p>
                    <a:p>
                      <a:pPr marL="171450" indent="-171450">
                        <a:buFont typeface="Arial" panose="020B0604020202020204" pitchFamily="34" charset="0"/>
                        <a:buChar char="•"/>
                      </a:pPr>
                      <a:r>
                        <a:rPr lang="en-US" sz="1200"/>
                        <a:t>There may also be useful data on peak loads by type of heat network which could be an input for future iterations of the Heatropolis CB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accent2"/>
                          </a:solidFill>
                        </a:rPr>
                        <a:t>Check on updates and published results in next Horizon Scan.</a:t>
                      </a:r>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30773" y="6492240"/>
            <a:ext cx="365760" cy="365760"/>
          </a:xfrm>
          <a:prstGeom prst="rect">
            <a:avLst/>
          </a:prstGeom>
        </p:spPr>
      </p:pic>
      <p:pic>
        <p:nvPicPr>
          <p:cNvPr id="9218" name="Picture 2" descr="Energieinstitut an der JKU Linz">
            <a:extLst>
              <a:ext uri="{FF2B5EF4-FFF2-40B4-BE49-F238E27FC236}">
                <a16:creationId xmlns:a16="http://schemas.microsoft.com/office/drawing/2014/main" id="{A834509A-7091-B4CE-E2ED-D4EE8A87A37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70727" y="2901098"/>
            <a:ext cx="878280" cy="321624"/>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Tallinn University of Technology (TalTech), Estonia | Study.eu">
            <a:extLst>
              <a:ext uri="{FF2B5EF4-FFF2-40B4-BE49-F238E27FC236}">
                <a16:creationId xmlns:a16="http://schemas.microsoft.com/office/drawing/2014/main" id="{57D1153D-1B65-F516-912F-74737F30936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15944" y="2889155"/>
            <a:ext cx="623557" cy="349192"/>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Euroheat &amp; Power - Eurelectric Power Summit 2024">
            <a:extLst>
              <a:ext uri="{FF2B5EF4-FFF2-40B4-BE49-F238E27FC236}">
                <a16:creationId xmlns:a16="http://schemas.microsoft.com/office/drawing/2014/main" id="{92E81570-D508-DCC9-CAC2-9CE72305D96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553009" y="2915530"/>
            <a:ext cx="878280" cy="292760"/>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Re Peak">
            <a:extLst>
              <a:ext uri="{FF2B5EF4-FFF2-40B4-BE49-F238E27FC236}">
                <a16:creationId xmlns:a16="http://schemas.microsoft.com/office/drawing/2014/main" id="{C9A64909-564B-A6DA-C5E9-188646DA20F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192153" y="455793"/>
            <a:ext cx="2532888" cy="108587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50AB68C-6249-D529-C4EA-D6B2A90C9FA0}"/>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27838466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1689460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10. SENERGY NETS</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2943653139"/>
              </p:ext>
            </p:extLst>
          </p:nvPr>
        </p:nvGraphicFramePr>
        <p:xfrm>
          <a:off x="466725" y="1544755"/>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a:t>Description: </a:t>
                      </a:r>
                      <a:r>
                        <a:rPr lang="en-US" sz="1200" b="0"/>
                        <a:t>EU funded project aimed at increasing the synergy between different energy networks, notably electricity, gas and district heating / cooling networks, while incorporating more locally produced renewable energy. </a:t>
                      </a:r>
                      <a:r>
                        <a:rPr lang="en-US" sz="1200" b="0">
                          <a:hlinkClick r:id="rId6"/>
                        </a:rPr>
                        <a:t>More info</a:t>
                      </a:r>
                      <a:r>
                        <a:rPr lang="en-US" sz="1200" b="0"/>
                        <a:t>.</a:t>
                      </a:r>
                    </a:p>
                  </a:txBody>
                  <a:tcPr/>
                </a:tc>
                <a:extLst>
                  <a:ext uri="{0D108BD9-81ED-4DB2-BD59-A6C34878D82A}">
                    <a16:rowId xmlns:a16="http://schemas.microsoft.com/office/drawing/2014/main" val="1569062850"/>
                  </a:ext>
                </a:extLst>
              </a:tr>
              <a:tr h="117167">
                <a:tc>
                  <a:txBody>
                    <a:bodyPr/>
                    <a:lstStyle/>
                    <a:p>
                      <a:r>
                        <a:rPr lang="en-US" sz="1200" b="1"/>
                        <a:t>Countries: </a:t>
                      </a:r>
                      <a:r>
                        <a:rPr lang="en-US" sz="1200" b="0"/>
                        <a:t>Spain, France, Italy, Slovenia, Sweden, Belgium, Austria, Germany</a:t>
                      </a:r>
                      <a:endParaRPr lang="en-US" sz="1200"/>
                    </a:p>
                  </a:txBody>
                  <a:tcPr/>
                </a:tc>
                <a:extLst>
                  <a:ext uri="{0D108BD9-81ED-4DB2-BD59-A6C34878D82A}">
                    <a16:rowId xmlns:a16="http://schemas.microsoft.com/office/drawing/2014/main" val="3782471822"/>
                  </a:ext>
                </a:extLst>
              </a:tr>
              <a:tr h="117167">
                <a:tc>
                  <a:txBody>
                    <a:bodyPr/>
                    <a:lstStyle/>
                    <a:p>
                      <a:r>
                        <a:rPr lang="en-US" sz="1200" b="1"/>
                        <a:t>Organisations:</a:t>
                      </a:r>
                      <a:r>
                        <a:rPr lang="en-US" sz="1200"/>
                        <a:t> </a:t>
                      </a:r>
                    </a:p>
                    <a:p>
                      <a:r>
                        <a:rPr lang="en-US" sz="1200"/>
                        <a:t>Coordinator: </a:t>
                      </a:r>
                    </a:p>
                    <a:p>
                      <a:endParaRPr lang="en-US" sz="1200"/>
                    </a:p>
                  </a:txBody>
                  <a:tcPr/>
                </a:tc>
                <a:extLst>
                  <a:ext uri="{0D108BD9-81ED-4DB2-BD59-A6C34878D82A}">
                    <a16:rowId xmlns:a16="http://schemas.microsoft.com/office/drawing/2014/main" val="48156588"/>
                  </a:ext>
                </a:extLst>
              </a:tr>
              <a:tr h="117748">
                <a:tc>
                  <a:txBody>
                    <a:bodyPr/>
                    <a:lstStyle/>
                    <a:p>
                      <a:r>
                        <a:rPr lang="en-US" sz="1200" b="1"/>
                        <a:t>Dates: </a:t>
                      </a:r>
                      <a:r>
                        <a:rPr lang="en-US" sz="1200" b="0"/>
                        <a:t>September 2022 – August 2026</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756895869"/>
              </p:ext>
            </p:extLst>
          </p:nvPr>
        </p:nvGraphicFramePr>
        <p:xfrm>
          <a:off x="466725" y="3962389"/>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evelop a set of tools and platforms (up to TRL7/8) to optimise the planning of district heating and cooling as well as distribution grids with sector coupling consideration and allow the provision of flexibility services to distribution and transmission system operato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ese solutions will be implemented on three pilot sites located in Milan, Ljubljana and Paris and their replicability will be tested in two additional real case studies presenting alternative climatic, economic and geographic conditions in </a:t>
                      </a:r>
                      <a:r>
                        <a:rPr lang="en-US" sz="1200" dirty="0" err="1"/>
                        <a:t>Västerås</a:t>
                      </a:r>
                      <a:r>
                        <a:rPr lang="en-US" sz="1200" dirty="0"/>
                        <a:t> and Cordob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evelop and apply a consolidated method to evaluate the overall created value by sector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2568398255"/>
              </p:ext>
            </p:extLst>
          </p:nvPr>
        </p:nvGraphicFramePr>
        <p:xfrm>
          <a:off x="6276626" y="3053952"/>
          <a:ext cx="5494460" cy="16459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The key objectives of the project include:</a:t>
                      </a:r>
                    </a:p>
                    <a:p>
                      <a:pPr marL="628650" lvl="1" indent="-171450">
                        <a:buFont typeface="Arial" panose="020B0604020202020204" pitchFamily="34" charset="0"/>
                        <a:buChar char="•"/>
                      </a:pPr>
                      <a:r>
                        <a:rPr lang="en-US" sz="1200"/>
                        <a:t>Demonstrate the capability of multi-energy systems to </a:t>
                      </a:r>
                      <a:r>
                        <a:rPr lang="en-US" sz="1200" err="1"/>
                        <a:t>decarbonise</a:t>
                      </a:r>
                      <a:r>
                        <a:rPr lang="en-US" sz="1200"/>
                        <a:t> the heating and cooling sector using local RES production and sector coupling.</a:t>
                      </a:r>
                    </a:p>
                    <a:p>
                      <a:pPr marL="628650" lvl="1" indent="-171450">
                        <a:buFont typeface="Arial" panose="020B0604020202020204" pitchFamily="34" charset="0"/>
                        <a:buChar char="•"/>
                      </a:pPr>
                      <a:r>
                        <a:rPr lang="en-US" sz="1200"/>
                        <a:t>Enable multi-energy systems to provide flexibility services by delivering a set of tools for planning and operation.</a:t>
                      </a:r>
                    </a:p>
                    <a:p>
                      <a:pPr marL="628650" lvl="1" indent="-171450">
                        <a:buFont typeface="Arial" panose="020B0604020202020204" pitchFamily="34" charset="0"/>
                        <a:buChar char="•"/>
                      </a:pPr>
                      <a:r>
                        <a:rPr lang="en-US" sz="1200"/>
                        <a:t>Enabling flexibility provision at local scale by defining market requirements for DSO ancillary services adapted to multi-energy systems.</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1539034724"/>
              </p:ext>
            </p:extLst>
          </p:nvPr>
        </p:nvGraphicFramePr>
        <p:xfrm>
          <a:off x="6276626" y="4876789"/>
          <a:ext cx="5494460" cy="14630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This project is highly relevant to Heatropolis as it is exploring how flexibility and sector integration can enable higher uptake of renewable supplies in heating and cooling networks, while delivering flexibility for the electricity network.</a:t>
                      </a:r>
                    </a:p>
                    <a:p>
                      <a:pPr marL="171450" indent="-171450">
                        <a:buFont typeface="Arial" panose="020B0604020202020204" pitchFamily="34" charset="0"/>
                        <a:buChar char="•"/>
                      </a:pPr>
                      <a:r>
                        <a:rPr lang="en-US" sz="1200">
                          <a:solidFill>
                            <a:schemeClr val="accent2"/>
                          </a:solidFill>
                        </a:rPr>
                        <a:t>The projects should aim to engage and share learnings as part of the WP7 stakeholder engagement 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accent2"/>
                          </a:solidFill>
                        </a:rPr>
                        <a:t>Check on updates and published results in next Horizon Scan.</a:t>
                      </a:r>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30773" y="6492240"/>
            <a:ext cx="365760" cy="365760"/>
          </a:xfrm>
          <a:prstGeom prst="rect">
            <a:avLst/>
          </a:prstGeom>
        </p:spPr>
      </p:pic>
      <p:pic>
        <p:nvPicPr>
          <p:cNvPr id="10242" name="Picture 2" descr="eifer – Europäisches Institut für Energieforschung">
            <a:extLst>
              <a:ext uri="{FF2B5EF4-FFF2-40B4-BE49-F238E27FC236}">
                <a16:creationId xmlns:a16="http://schemas.microsoft.com/office/drawing/2014/main" id="{CAEBDBDF-E852-FD99-AE69-B593629C614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43812" y="2806637"/>
            <a:ext cx="1263396" cy="51925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B5F6C65-A87F-9950-37F3-66AF54360E8D}"/>
              </a:ext>
            </a:extLst>
          </p:cNvPr>
          <p:cNvSpPr txBox="1"/>
          <p:nvPr/>
        </p:nvSpPr>
        <p:spPr>
          <a:xfrm>
            <a:off x="2725974" y="2823120"/>
            <a:ext cx="2200311" cy="461665"/>
          </a:xfrm>
          <a:prstGeom prst="rect">
            <a:avLst/>
          </a:prstGeom>
          <a:noFill/>
        </p:spPr>
        <p:txBody>
          <a:bodyPr wrap="square">
            <a:spAutoFit/>
          </a:bodyPr>
          <a:lstStyle/>
          <a:p>
            <a:r>
              <a:rPr lang="en-US" sz="1200"/>
              <a:t>18 partner organisations across the participating countries</a:t>
            </a:r>
          </a:p>
        </p:txBody>
      </p:sp>
      <p:pic>
        <p:nvPicPr>
          <p:cNvPr id="19" name="Picture 18">
            <a:extLst>
              <a:ext uri="{FF2B5EF4-FFF2-40B4-BE49-F238E27FC236}">
                <a16:creationId xmlns:a16="http://schemas.microsoft.com/office/drawing/2014/main" id="{D763EC0A-4DEC-BA60-8162-265788BAA4CF}"/>
              </a:ext>
            </a:extLst>
          </p:cNvPr>
          <p:cNvPicPr>
            <a:picLocks noChangeAspect="1"/>
          </p:cNvPicPr>
          <p:nvPr/>
        </p:nvPicPr>
        <p:blipFill>
          <a:blip r:embed="rId14"/>
          <a:stretch>
            <a:fillRect/>
          </a:stretch>
        </p:blipFill>
        <p:spPr>
          <a:xfrm>
            <a:off x="6276626" y="543227"/>
            <a:ext cx="5493821" cy="2279893"/>
          </a:xfrm>
          <a:prstGeom prst="rect">
            <a:avLst/>
          </a:prstGeom>
          <a:ln w="3175">
            <a:solidFill>
              <a:schemeClr val="tx1"/>
            </a:solidFill>
          </a:ln>
        </p:spPr>
      </p:pic>
      <p:sp>
        <p:nvSpPr>
          <p:cNvPr id="3" name="TextBox 2">
            <a:extLst>
              <a:ext uri="{FF2B5EF4-FFF2-40B4-BE49-F238E27FC236}">
                <a16:creationId xmlns:a16="http://schemas.microsoft.com/office/drawing/2014/main" id="{6F3B33C8-003C-BD4A-7BB4-7A9D6F631D15}"/>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29938432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906968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11. Aberdeen Heat &amp; Power</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3695475372"/>
              </p:ext>
            </p:extLst>
          </p:nvPr>
        </p:nvGraphicFramePr>
        <p:xfrm>
          <a:off x="466725" y="1544755"/>
          <a:ext cx="5494460" cy="246888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a:t>Description: </a:t>
                      </a:r>
                      <a:r>
                        <a:rPr lang="en-US" sz="1200" b="0"/>
                        <a:t>Aberdeen Heat &amp; Power (AH&amp;P) is an independent, not-for-profit company, founded in 2002 to develop and operate district heating systems. They now operate 4 heat networks across Aberdeen, delivering heat to over 3,000 homes and public buildings. For the moment, they principally use gas fired CHP and have been earning capacity market revenue since 2017. </a:t>
                      </a:r>
                      <a:r>
                        <a:rPr lang="en-US" sz="1200" b="0">
                          <a:hlinkClick r:id="rId6"/>
                        </a:rPr>
                        <a:t>More info.</a:t>
                      </a:r>
                      <a:endParaRPr lang="en-US" sz="1200" b="0"/>
                    </a:p>
                  </a:txBody>
                  <a:tcPr/>
                </a:tc>
                <a:extLst>
                  <a:ext uri="{0D108BD9-81ED-4DB2-BD59-A6C34878D82A}">
                    <a16:rowId xmlns:a16="http://schemas.microsoft.com/office/drawing/2014/main" val="1569062850"/>
                  </a:ext>
                </a:extLst>
              </a:tr>
              <a:tr h="117167">
                <a:tc>
                  <a:txBody>
                    <a:bodyPr/>
                    <a:lstStyle/>
                    <a:p>
                      <a:r>
                        <a:rPr lang="en-US" sz="1200" b="1"/>
                        <a:t>Countries: </a:t>
                      </a:r>
                      <a:r>
                        <a:rPr lang="en-US" sz="1200" b="0"/>
                        <a:t>Scotland, United Kingdom</a:t>
                      </a:r>
                      <a:endParaRPr lang="en-US" sz="1200"/>
                    </a:p>
                  </a:txBody>
                  <a:tcPr/>
                </a:tc>
                <a:extLst>
                  <a:ext uri="{0D108BD9-81ED-4DB2-BD59-A6C34878D82A}">
                    <a16:rowId xmlns:a16="http://schemas.microsoft.com/office/drawing/2014/main" val="3782471822"/>
                  </a:ext>
                </a:extLst>
              </a:tr>
              <a:tr h="117167">
                <a:tc>
                  <a:txBody>
                    <a:bodyPr/>
                    <a:lstStyle/>
                    <a:p>
                      <a:r>
                        <a:rPr lang="en-US" sz="1200" b="1"/>
                        <a:t>Organisations:</a:t>
                      </a:r>
                      <a:r>
                        <a:rPr lang="en-US" sz="1200"/>
                        <a:t> </a:t>
                      </a:r>
                    </a:p>
                    <a:p>
                      <a:endParaRPr lang="en-US" sz="1200"/>
                    </a:p>
                    <a:p>
                      <a:endParaRPr lang="en-US" sz="1200"/>
                    </a:p>
                  </a:txBody>
                  <a:tcPr/>
                </a:tc>
                <a:extLst>
                  <a:ext uri="{0D108BD9-81ED-4DB2-BD59-A6C34878D82A}">
                    <a16:rowId xmlns:a16="http://schemas.microsoft.com/office/drawing/2014/main" val="48156588"/>
                  </a:ext>
                </a:extLst>
              </a:tr>
              <a:tr h="117167">
                <a:tc>
                  <a:txBody>
                    <a:bodyPr/>
                    <a:lstStyle/>
                    <a:p>
                      <a:r>
                        <a:rPr lang="en-US" sz="1200" b="1"/>
                        <a:t>Dates: </a:t>
                      </a:r>
                      <a:r>
                        <a:rPr lang="en-US" sz="1200" b="0"/>
                        <a:t>2017 – present</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2063983257"/>
              </p:ext>
            </p:extLst>
          </p:nvPr>
        </p:nvGraphicFramePr>
        <p:xfrm>
          <a:off x="466725" y="4181264"/>
          <a:ext cx="5494460" cy="128016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Working with Flexitricity as aggregator, AH&amp;P started working through the Capacity Market process in 201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is included ensuring their sites were ready and connected, entering the Early Auctions and T-4 auction, and metering and deli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As a result, AH&amp;P has been earning Capacity Market revenue since October 2017.</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1095661094"/>
              </p:ext>
            </p:extLst>
          </p:nvPr>
        </p:nvGraphicFramePr>
        <p:xfrm>
          <a:off x="6276626" y="1544754"/>
          <a:ext cx="5494460" cy="246888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6125">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2192755">
                <a:tc>
                  <a:txBody>
                    <a:bodyPr/>
                    <a:lstStyle/>
                    <a:p>
                      <a:pPr marL="171450" indent="-171450">
                        <a:buFont typeface="Arial" panose="020B0604020202020204" pitchFamily="34" charset="0"/>
                        <a:buChar char="•"/>
                      </a:pPr>
                      <a:r>
                        <a:rPr lang="en-US" sz="1200" dirty="0"/>
                        <a:t>AH&amp;P CEO Ian Booth stated that “operationally, this has had no effect for us other than business as usual to maintain and maximise operations. The positive financial impact is starting to happen now, and this is expected to increase in subsequent years, which is pleasing to note”.</a:t>
                      </a:r>
                    </a:p>
                    <a:p>
                      <a:pPr marL="171450" indent="-171450">
                        <a:buFont typeface="Arial" panose="020B0604020202020204" pitchFamily="34" charset="0"/>
                        <a:buChar char="•"/>
                      </a:pPr>
                      <a:r>
                        <a:rPr lang="en-US" sz="1200" dirty="0"/>
                        <a:t>AH&amp;P is looking to expand but securing the funding is a major challenge. They’re planning on exploring a wide range of options to maximise their income, including working with </a:t>
                      </a:r>
                      <a:r>
                        <a:rPr lang="en-US" sz="1200" dirty="0" err="1"/>
                        <a:t>Flexitricity</a:t>
                      </a:r>
                      <a:r>
                        <a:rPr lang="en-US" sz="1200" dirty="0"/>
                        <a:t> to add more to their revenue stack.</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2494707375"/>
              </p:ext>
            </p:extLst>
          </p:nvPr>
        </p:nvGraphicFramePr>
        <p:xfrm>
          <a:off x="6276626" y="4181264"/>
          <a:ext cx="5494460" cy="128016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6515">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1003645">
                <a:tc>
                  <a:txBody>
                    <a:bodyPr/>
                    <a:lstStyle/>
                    <a:p>
                      <a:pPr marL="171450" indent="-171450">
                        <a:buFont typeface="Arial" panose="020B0604020202020204" pitchFamily="34" charset="0"/>
                        <a:buChar char="•"/>
                      </a:pPr>
                      <a:r>
                        <a:rPr lang="en-US" sz="1200">
                          <a:solidFill>
                            <a:schemeClr val="accent2"/>
                          </a:solidFill>
                        </a:rPr>
                        <a:t>Heatropolis should engage with AH&amp;P to understand in more detail how they are using their assets to participate in the capacity market.</a:t>
                      </a:r>
                    </a:p>
                    <a:p>
                      <a:pPr marL="171450" indent="-171450">
                        <a:buFont typeface="Arial" panose="020B0604020202020204" pitchFamily="34" charset="0"/>
                        <a:buChar char="•"/>
                      </a:pPr>
                      <a:r>
                        <a:rPr lang="en-US" sz="1200"/>
                        <a:t>There are learnings here about how a natural gas fired CHP heat network is able to participate in flex, and how this could apply to a decarbonised network.</a:t>
                      </a:r>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30773" y="6492240"/>
            <a:ext cx="365760" cy="365760"/>
          </a:xfrm>
          <a:prstGeom prst="rect">
            <a:avLst/>
          </a:prstGeom>
        </p:spPr>
      </p:pic>
      <p:pic>
        <p:nvPicPr>
          <p:cNvPr id="11266" name="Picture 2" descr="Aberdeen Heat &amp; Power">
            <a:extLst>
              <a:ext uri="{FF2B5EF4-FFF2-40B4-BE49-F238E27FC236}">
                <a16:creationId xmlns:a16="http://schemas.microsoft.com/office/drawing/2014/main" id="{CAEA76B3-11A5-1279-DD11-83C65F76200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18488" y="3180100"/>
            <a:ext cx="1691640" cy="497800"/>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Asset Metering Report">
            <a:extLst>
              <a:ext uri="{FF2B5EF4-FFF2-40B4-BE49-F238E27FC236}">
                <a16:creationId xmlns:a16="http://schemas.microsoft.com/office/drawing/2014/main" id="{BDB87ACE-4B0C-BF66-6577-614A87A4A72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13955" y="2952750"/>
            <a:ext cx="2381250" cy="952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3997E06-3BB5-267A-4F69-2D288022EEE7}"/>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23374178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2800486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12. MAGNITUDE (1/2)</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2658370222"/>
              </p:ext>
            </p:extLst>
          </p:nvPr>
        </p:nvGraphicFramePr>
        <p:xfrm>
          <a:off x="466725" y="1425883"/>
          <a:ext cx="5494460" cy="2194559"/>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5819">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671559">
                <a:tc>
                  <a:txBody>
                    <a:bodyPr/>
                    <a:lstStyle/>
                    <a:p>
                      <a:r>
                        <a:rPr lang="en-US" sz="1200" b="1"/>
                        <a:t>Description: </a:t>
                      </a:r>
                      <a:r>
                        <a:rPr lang="en-US" sz="1200" b="0"/>
                        <a:t>EU funded project which aimed to develop business and market mechanisms to provide flexibility to the electricity system by increasing and optimizing synergies between electricity, heat and gas systems. </a:t>
                      </a:r>
                      <a:r>
                        <a:rPr lang="en-US" sz="1200" b="0">
                          <a:hlinkClick r:id="rId6"/>
                        </a:rPr>
                        <a:t>More info</a:t>
                      </a:r>
                      <a:r>
                        <a:rPr lang="en-US" sz="1200" b="0"/>
                        <a:t>.</a:t>
                      </a:r>
                    </a:p>
                  </a:txBody>
                  <a:tcPr/>
                </a:tc>
                <a:extLst>
                  <a:ext uri="{0D108BD9-81ED-4DB2-BD59-A6C34878D82A}">
                    <a16:rowId xmlns:a16="http://schemas.microsoft.com/office/drawing/2014/main" val="1569062850"/>
                  </a:ext>
                </a:extLst>
              </a:tr>
              <a:tr h="287811">
                <a:tc>
                  <a:txBody>
                    <a:bodyPr/>
                    <a:lstStyle/>
                    <a:p>
                      <a:r>
                        <a:rPr lang="en-US" sz="1200" b="1"/>
                        <a:t>Countries: </a:t>
                      </a:r>
                      <a:r>
                        <a:rPr lang="en-US" sz="1200" b="0"/>
                        <a:t>France, Austria, UK, Italy, Spain, Belgium, Sweden, Denmark, Germany</a:t>
                      </a:r>
                    </a:p>
                  </a:txBody>
                  <a:tcPr/>
                </a:tc>
                <a:extLst>
                  <a:ext uri="{0D108BD9-81ED-4DB2-BD59-A6C34878D82A}">
                    <a16:rowId xmlns:a16="http://schemas.microsoft.com/office/drawing/2014/main" val="3782471822"/>
                  </a:ext>
                </a:extLst>
              </a:tr>
              <a:tr h="671559">
                <a:tc>
                  <a:txBody>
                    <a:bodyPr/>
                    <a:lstStyle/>
                    <a:p>
                      <a:r>
                        <a:rPr lang="en-US" sz="1200" b="1"/>
                        <a:t>Organisations:</a:t>
                      </a:r>
                      <a:r>
                        <a:rPr lang="en-US" sz="1200"/>
                        <a:t> </a:t>
                      </a:r>
                    </a:p>
                    <a:p>
                      <a:r>
                        <a:rPr lang="en-US" sz="1200"/>
                        <a:t>Coordinator:</a:t>
                      </a:r>
                    </a:p>
                    <a:p>
                      <a:endParaRPr lang="en-US" sz="1200"/>
                    </a:p>
                  </a:txBody>
                  <a:tcPr/>
                </a:tc>
                <a:extLst>
                  <a:ext uri="{0D108BD9-81ED-4DB2-BD59-A6C34878D82A}">
                    <a16:rowId xmlns:a16="http://schemas.microsoft.com/office/drawing/2014/main" val="48156588"/>
                  </a:ext>
                </a:extLst>
              </a:tr>
              <a:tr h="287811">
                <a:tc>
                  <a:txBody>
                    <a:bodyPr/>
                    <a:lstStyle/>
                    <a:p>
                      <a:r>
                        <a:rPr lang="en-US" sz="1200" b="1"/>
                        <a:t>Dates: </a:t>
                      </a:r>
                      <a:r>
                        <a:rPr lang="en-US" sz="1200" b="0"/>
                        <a:t>October 2017 – 2020 </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219212836"/>
              </p:ext>
            </p:extLst>
          </p:nvPr>
        </p:nvGraphicFramePr>
        <p:xfrm>
          <a:off x="466725" y="3705775"/>
          <a:ext cx="5494460" cy="274320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6294">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2466906">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Used 7 real-life examples of multi-energy systems (MES) to test and validate different regulatory frameworks, sector coupling technologies and business c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ested participation in electricity and gas day-ahead markets, Frequency Ancillary Services, Frequency Containment Reserve (FCR), automatic Frequency Restoration Reserve (</a:t>
                      </a:r>
                      <a:r>
                        <a:rPr lang="en-US" sz="1200" err="1"/>
                        <a:t>aFRR</a:t>
                      </a:r>
                      <a:r>
                        <a:rPr lang="en-US" sz="1200"/>
                        <a:t>) and upward/downward manual Frequency Restoration Reserve (</a:t>
                      </a:r>
                      <a:r>
                        <a:rPr lang="en-US" sz="1200" err="1"/>
                        <a:t>mFRR</a:t>
                      </a:r>
                      <a:r>
                        <a:rPr lang="en-US" sz="120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ested improvement strategies such as larger thermal storage, larger gas storage, demand side peak reduction and improved contro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Assessed options against flexibility, energy efficiency, sustainability &amp; economy KP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Investigated the replicability and transferability of MAGNITUDE's business c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Developed the specifications and a light implementation of a multi-energy data hub and interoperability layer.</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723315146"/>
              </p:ext>
            </p:extLst>
          </p:nvPr>
        </p:nvGraphicFramePr>
        <p:xfrm>
          <a:off x="6276626" y="1425883"/>
          <a:ext cx="5494460" cy="219456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The project confirmed that MES can definitely provide flexibility to support the integration of renewable energy sources in the electricity system.</a:t>
                      </a:r>
                    </a:p>
                    <a:p>
                      <a:pPr marL="171450" indent="-171450">
                        <a:buFont typeface="Arial" panose="020B0604020202020204" pitchFamily="34" charset="0"/>
                        <a:buChar char="•"/>
                      </a:pPr>
                      <a:r>
                        <a:rPr lang="en-US" sz="1200"/>
                        <a:t>The simulations carried out for the seven real-life case studies showed that a significant amount of flexibility can be available but only a small part of the available flexibility is actually activated.</a:t>
                      </a:r>
                    </a:p>
                    <a:p>
                      <a:pPr marL="171450" indent="-171450">
                        <a:buFont typeface="Arial" panose="020B0604020202020204" pitchFamily="34" charset="0"/>
                        <a:buChar char="•"/>
                      </a:pPr>
                      <a:r>
                        <a:rPr lang="en-US" sz="1200"/>
                        <a:t>The project recommended the following policy actions:</a:t>
                      </a:r>
                    </a:p>
                    <a:p>
                      <a:pPr marL="628650" lvl="1" indent="-171450">
                        <a:buFont typeface="Arial" panose="020B0604020202020204" pitchFamily="34" charset="0"/>
                        <a:buChar char="•"/>
                      </a:pPr>
                      <a:r>
                        <a:rPr lang="en-US" sz="1200"/>
                        <a:t>Aggregation of MES to enable participation to energy markets</a:t>
                      </a:r>
                    </a:p>
                    <a:p>
                      <a:pPr marL="628650" lvl="1" indent="-171450">
                        <a:buFont typeface="Arial" panose="020B0604020202020204" pitchFamily="34" charset="0"/>
                        <a:buChar char="•"/>
                      </a:pPr>
                      <a:r>
                        <a:rPr lang="en-US" sz="1200" err="1"/>
                        <a:t>Harmonisation</a:t>
                      </a:r>
                      <a:r>
                        <a:rPr lang="en-US" sz="1200"/>
                        <a:t> of EU electricity markets</a:t>
                      </a:r>
                    </a:p>
                    <a:p>
                      <a:pPr marL="628650" lvl="1" indent="-171450">
                        <a:buFont typeface="Arial" panose="020B0604020202020204" pitchFamily="34" charset="0"/>
                        <a:buChar char="•"/>
                      </a:pPr>
                      <a:r>
                        <a:rPr lang="en-US" sz="1200"/>
                        <a:t>Creation of new frameworks for collaboration between different actors</a:t>
                      </a:r>
                    </a:p>
                    <a:p>
                      <a:pPr marL="628650" lvl="1" indent="-171450">
                        <a:buFont typeface="Arial" panose="020B0604020202020204" pitchFamily="34" charset="0"/>
                        <a:buChar char="•"/>
                      </a:pPr>
                      <a:r>
                        <a:rPr lang="en-US" sz="1200"/>
                        <a:t>Novel business models can promote energy integration</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3926351117"/>
              </p:ext>
            </p:extLst>
          </p:nvPr>
        </p:nvGraphicFramePr>
        <p:xfrm>
          <a:off x="6276626" y="3705776"/>
          <a:ext cx="5494460" cy="274320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9541">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1075867">
                <a:tc>
                  <a:txBody>
                    <a:bodyPr/>
                    <a:lstStyle/>
                    <a:p>
                      <a:pPr marL="171450" indent="-171450">
                        <a:buFont typeface="Arial" panose="020B0604020202020204" pitchFamily="34" charset="0"/>
                        <a:buChar char="•"/>
                      </a:pPr>
                      <a:r>
                        <a:rPr lang="en-US" sz="1200"/>
                        <a:t>In the Italian case study, site the winter heat peak was able to be reduced by 20% thorough incentivization of heat network end consumers. </a:t>
                      </a:r>
                      <a:r>
                        <a:rPr lang="en-US" sz="1200" err="1"/>
                        <a:t>mFRR</a:t>
                      </a:r>
                      <a:r>
                        <a:rPr lang="en-US" sz="1200"/>
                        <a:t> was the market with highest profit expectation in 2019, </a:t>
                      </a:r>
                      <a:r>
                        <a:rPr lang="en-US" sz="1200" err="1"/>
                        <a:t>aFRR</a:t>
                      </a:r>
                      <a:r>
                        <a:rPr lang="en-US" sz="1200"/>
                        <a:t> and FCR are technically feasible but show far lower profit expectation. Revenues from ancillary service markets were not sufficient to recover the additional costs to provide the flexibility for the chosen simulation set-up.</a:t>
                      </a:r>
                    </a:p>
                    <a:p>
                      <a:pPr marL="171450" indent="-171450">
                        <a:buFont typeface="Arial" panose="020B0604020202020204" pitchFamily="34" charset="0"/>
                        <a:buChar char="•"/>
                      </a:pPr>
                      <a:r>
                        <a:rPr lang="en-US" sz="1200"/>
                        <a:t>Realistic revenues from flexibility exploitation are often overestimated, in particular for the intraday market.</a:t>
                      </a:r>
                    </a:p>
                    <a:p>
                      <a:pPr marL="171450" indent="-171450">
                        <a:buFont typeface="Arial" panose="020B0604020202020204" pitchFamily="34" charset="0"/>
                        <a:buChar char="•"/>
                      </a:pPr>
                      <a:r>
                        <a:rPr lang="en-US" sz="1200"/>
                        <a:t>Generally, flexibility provision increases energy consumption. Introduction of storage can lead to reduction of wasted energy and therefore overall consumption.</a:t>
                      </a:r>
                    </a:p>
                    <a:p>
                      <a:pPr marL="171450" indent="-171450">
                        <a:buFont typeface="Arial" panose="020B0604020202020204" pitchFamily="34" charset="0"/>
                        <a:buChar char="•"/>
                      </a:pPr>
                      <a:r>
                        <a:rPr lang="en-US" sz="1200"/>
                        <a:t>Generally, GHG emissions are higher because of the flexibility provision, although installation of local PV generation reduces GHG emissions.</a:t>
                      </a:r>
                    </a:p>
                    <a:p>
                      <a:pPr marL="171450" indent="-171450">
                        <a:buFont typeface="Arial" panose="020B0604020202020204" pitchFamily="34" charset="0"/>
                        <a:buChar char="•"/>
                      </a:pPr>
                      <a:r>
                        <a:rPr lang="en-US" sz="1200">
                          <a:solidFill>
                            <a:schemeClr val="accent2"/>
                          </a:solidFill>
                        </a:rPr>
                        <a:t>More learnings can be found on the </a:t>
                      </a:r>
                      <a:r>
                        <a:rPr lang="en-US" sz="1200">
                          <a:solidFill>
                            <a:schemeClr val="accent2"/>
                          </a:solidFill>
                          <a:hlinkClick r:id="rId7"/>
                        </a:rPr>
                        <a:t>project website </a:t>
                      </a:r>
                      <a:r>
                        <a:rPr lang="en-US" sz="1200">
                          <a:solidFill>
                            <a:schemeClr val="accent2"/>
                          </a:solidFill>
                        </a:rPr>
                        <a:t>and</a:t>
                      </a:r>
                      <a:r>
                        <a:rPr lang="en-US" sz="1200"/>
                        <a:t> </a:t>
                      </a:r>
                      <a:r>
                        <a:rPr lang="en-US" sz="1200">
                          <a:hlinkClick r:id="rId8"/>
                        </a:rPr>
                        <a:t>final presentation</a:t>
                      </a:r>
                      <a:r>
                        <a:rPr lang="en-US" sz="1200"/>
                        <a:t>.</a:t>
                      </a:r>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630773" y="6492240"/>
            <a:ext cx="365760" cy="365760"/>
          </a:xfrm>
          <a:prstGeom prst="rect">
            <a:avLst/>
          </a:prstGeom>
        </p:spPr>
      </p:pic>
      <p:sp>
        <p:nvSpPr>
          <p:cNvPr id="6" name="TextBox 5">
            <a:extLst>
              <a:ext uri="{FF2B5EF4-FFF2-40B4-BE49-F238E27FC236}">
                <a16:creationId xmlns:a16="http://schemas.microsoft.com/office/drawing/2014/main" id="{A866DE82-ADAB-B286-6BB3-052098CE531D}"/>
              </a:ext>
            </a:extLst>
          </p:cNvPr>
          <p:cNvSpPr txBox="1"/>
          <p:nvPr/>
        </p:nvSpPr>
        <p:spPr>
          <a:xfrm>
            <a:off x="2863134" y="2704248"/>
            <a:ext cx="2200311" cy="461665"/>
          </a:xfrm>
          <a:prstGeom prst="rect">
            <a:avLst/>
          </a:prstGeom>
          <a:noFill/>
        </p:spPr>
        <p:txBody>
          <a:bodyPr wrap="square">
            <a:spAutoFit/>
          </a:bodyPr>
          <a:lstStyle/>
          <a:p>
            <a:r>
              <a:rPr lang="en-US" sz="1200"/>
              <a:t>16 partner organisations across the participating countries</a:t>
            </a:r>
          </a:p>
        </p:txBody>
      </p:sp>
      <p:pic>
        <p:nvPicPr>
          <p:cNvPr id="12290" name="Picture 2" descr="EDF">
            <a:extLst>
              <a:ext uri="{FF2B5EF4-FFF2-40B4-BE49-F238E27FC236}">
                <a16:creationId xmlns:a16="http://schemas.microsoft.com/office/drawing/2014/main" id="{B0D7B9F6-DB2B-DB0D-BA2A-452353D6F0CA}"/>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23763" b="25478"/>
          <a:stretch/>
        </p:blipFill>
        <p:spPr bwMode="auto">
          <a:xfrm>
            <a:off x="1559577" y="2679038"/>
            <a:ext cx="1153272" cy="58538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5686DF3-9AB2-92D7-18D6-E93D8C1A7890}"/>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12003538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CA8696-78D8-3602-9574-722550946D81}"/>
              </a:ext>
            </a:extLst>
          </p:cNvPr>
          <p:cNvGraphicFramePr>
            <a:graphicFrameLocks noChangeAspect="1"/>
          </p:cNvGraphicFramePr>
          <p:nvPr>
            <p:custDataLst>
              <p:tags r:id="rId1"/>
            </p:custDataLst>
            <p:extLst>
              <p:ext uri="{D42A27DB-BD31-4B8C-83A1-F6EECF244321}">
                <p14:modId xmlns:p14="http://schemas.microsoft.com/office/powerpoint/2010/main" val="3773702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F3CA8696-78D8-3602-9574-722550946D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A64B7D-9B2E-31C6-8634-BC5BBC0E2CD5}"/>
              </a:ext>
            </a:extLst>
          </p:cNvPr>
          <p:cNvSpPr>
            <a:spLocks noGrp="1"/>
          </p:cNvSpPr>
          <p:nvPr>
            <p:ph type="title"/>
          </p:nvPr>
        </p:nvSpPr>
        <p:spPr/>
        <p:txBody>
          <a:bodyPr vert="horz"/>
          <a:lstStyle/>
          <a:p>
            <a:r>
              <a:rPr lang="en-US"/>
              <a:t>12. MAGNITUDE (2/2)</a:t>
            </a:r>
          </a:p>
        </p:txBody>
      </p:sp>
      <p:pic>
        <p:nvPicPr>
          <p:cNvPr id="10" name="Picture 9">
            <a:extLst>
              <a:ext uri="{FF2B5EF4-FFF2-40B4-BE49-F238E27FC236}">
                <a16:creationId xmlns:a16="http://schemas.microsoft.com/office/drawing/2014/main" id="{DD9DEBEC-617B-13B7-AC9D-E9F526189F5F}"/>
              </a:ext>
            </a:extLst>
          </p:cNvPr>
          <p:cNvPicPr>
            <a:picLocks noChangeAspect="1"/>
          </p:cNvPicPr>
          <p:nvPr/>
        </p:nvPicPr>
        <p:blipFill>
          <a:blip r:embed="rId5"/>
          <a:stretch>
            <a:fillRect/>
          </a:stretch>
        </p:blipFill>
        <p:spPr>
          <a:xfrm>
            <a:off x="466959" y="1300654"/>
            <a:ext cx="2868591" cy="4332049"/>
          </a:xfrm>
          <a:prstGeom prst="rect">
            <a:avLst/>
          </a:prstGeom>
        </p:spPr>
      </p:pic>
      <p:pic>
        <p:nvPicPr>
          <p:cNvPr id="12" name="Picture 11">
            <a:extLst>
              <a:ext uri="{FF2B5EF4-FFF2-40B4-BE49-F238E27FC236}">
                <a16:creationId xmlns:a16="http://schemas.microsoft.com/office/drawing/2014/main" id="{09E72852-B522-A292-859B-36B8A0E52652}"/>
              </a:ext>
            </a:extLst>
          </p:cNvPr>
          <p:cNvPicPr>
            <a:picLocks noChangeAspect="1"/>
          </p:cNvPicPr>
          <p:nvPr/>
        </p:nvPicPr>
        <p:blipFill>
          <a:blip r:embed="rId6"/>
          <a:srcRect t="2695"/>
          <a:stretch/>
        </p:blipFill>
        <p:spPr>
          <a:xfrm>
            <a:off x="3369744" y="2079383"/>
            <a:ext cx="5658141" cy="3855822"/>
          </a:xfrm>
          <a:prstGeom prst="rect">
            <a:avLst/>
          </a:prstGeom>
        </p:spPr>
      </p:pic>
      <p:pic>
        <p:nvPicPr>
          <p:cNvPr id="14" name="Picture 13">
            <a:extLst>
              <a:ext uri="{FF2B5EF4-FFF2-40B4-BE49-F238E27FC236}">
                <a16:creationId xmlns:a16="http://schemas.microsoft.com/office/drawing/2014/main" id="{2C3F0E71-6D9A-BD98-6FCE-1BD24A02C8B5}"/>
              </a:ext>
            </a:extLst>
          </p:cNvPr>
          <p:cNvPicPr>
            <a:picLocks noChangeAspect="1"/>
          </p:cNvPicPr>
          <p:nvPr/>
        </p:nvPicPr>
        <p:blipFill>
          <a:blip r:embed="rId7"/>
          <a:srcRect t="4495" b="3833"/>
          <a:stretch/>
        </p:blipFill>
        <p:spPr>
          <a:xfrm>
            <a:off x="7171495" y="1149223"/>
            <a:ext cx="4616687" cy="2101564"/>
          </a:xfrm>
          <a:prstGeom prst="rect">
            <a:avLst/>
          </a:prstGeom>
        </p:spPr>
      </p:pic>
      <p:sp>
        <p:nvSpPr>
          <p:cNvPr id="16" name="TextBox 15">
            <a:extLst>
              <a:ext uri="{FF2B5EF4-FFF2-40B4-BE49-F238E27FC236}">
                <a16:creationId xmlns:a16="http://schemas.microsoft.com/office/drawing/2014/main" id="{F3EBFDBB-FDCC-DF9C-0C09-8D5B5C6CFFC7}"/>
              </a:ext>
            </a:extLst>
          </p:cNvPr>
          <p:cNvSpPr txBox="1"/>
          <p:nvPr/>
        </p:nvSpPr>
        <p:spPr>
          <a:xfrm>
            <a:off x="8211312" y="3250787"/>
            <a:ext cx="3033522" cy="461665"/>
          </a:xfrm>
          <a:prstGeom prst="rect">
            <a:avLst/>
          </a:prstGeom>
          <a:noFill/>
        </p:spPr>
        <p:txBody>
          <a:bodyPr wrap="square">
            <a:spAutoFit/>
          </a:bodyPr>
          <a:lstStyle/>
          <a:p>
            <a:r>
              <a:rPr lang="en-US" sz="1200" i="1"/>
              <a:t>Basic principles of the interactions between the MES and the aggregation platform</a:t>
            </a:r>
          </a:p>
        </p:txBody>
      </p:sp>
      <p:sp>
        <p:nvSpPr>
          <p:cNvPr id="18" name="TextBox 17">
            <a:extLst>
              <a:ext uri="{FF2B5EF4-FFF2-40B4-BE49-F238E27FC236}">
                <a16:creationId xmlns:a16="http://schemas.microsoft.com/office/drawing/2014/main" id="{25CBFFF2-C91D-A627-0A96-C411C970FF1B}"/>
              </a:ext>
            </a:extLst>
          </p:cNvPr>
          <p:cNvSpPr txBox="1"/>
          <p:nvPr/>
        </p:nvSpPr>
        <p:spPr>
          <a:xfrm>
            <a:off x="5004597" y="6129197"/>
            <a:ext cx="3033522" cy="276999"/>
          </a:xfrm>
          <a:prstGeom prst="rect">
            <a:avLst/>
          </a:prstGeom>
          <a:noFill/>
        </p:spPr>
        <p:txBody>
          <a:bodyPr wrap="square">
            <a:spAutoFit/>
          </a:bodyPr>
          <a:lstStyle/>
          <a:p>
            <a:r>
              <a:rPr lang="en-US" sz="1200" i="1"/>
              <a:t>MAGNITUDE overall system architecture</a:t>
            </a:r>
          </a:p>
        </p:txBody>
      </p:sp>
      <p:sp>
        <p:nvSpPr>
          <p:cNvPr id="19" name="TextBox 18">
            <a:extLst>
              <a:ext uri="{FF2B5EF4-FFF2-40B4-BE49-F238E27FC236}">
                <a16:creationId xmlns:a16="http://schemas.microsoft.com/office/drawing/2014/main" id="{D0EF8BBE-A14E-3405-FD7D-C5D3F7CF6A60}"/>
              </a:ext>
            </a:extLst>
          </p:cNvPr>
          <p:cNvSpPr txBox="1"/>
          <p:nvPr/>
        </p:nvSpPr>
        <p:spPr>
          <a:xfrm>
            <a:off x="557565" y="6129196"/>
            <a:ext cx="3033522" cy="276999"/>
          </a:xfrm>
          <a:prstGeom prst="rect">
            <a:avLst/>
          </a:prstGeom>
          <a:noFill/>
        </p:spPr>
        <p:txBody>
          <a:bodyPr wrap="square">
            <a:spAutoFit/>
          </a:bodyPr>
          <a:lstStyle/>
          <a:p>
            <a:r>
              <a:rPr lang="en-US" sz="1200" i="1"/>
              <a:t>MAGNITUDE overview of case studies</a:t>
            </a:r>
          </a:p>
        </p:txBody>
      </p:sp>
      <p:pic>
        <p:nvPicPr>
          <p:cNvPr id="3" name="Graphic 2" descr="Full battery with solid fill">
            <a:extLst>
              <a:ext uri="{FF2B5EF4-FFF2-40B4-BE49-F238E27FC236}">
                <a16:creationId xmlns:a16="http://schemas.microsoft.com/office/drawing/2014/main" id="{22CDF2D8-3406-EA0A-3AC6-BB505AA479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20739" y="6491344"/>
            <a:ext cx="365760" cy="365760"/>
          </a:xfrm>
          <a:prstGeom prst="rect">
            <a:avLst/>
          </a:prstGeom>
        </p:spPr>
      </p:pic>
      <p:pic>
        <p:nvPicPr>
          <p:cNvPr id="5" name="Graphic 4" descr="Leaf with solid fill">
            <a:extLst>
              <a:ext uri="{FF2B5EF4-FFF2-40B4-BE49-F238E27FC236}">
                <a16:creationId xmlns:a16="http://schemas.microsoft.com/office/drawing/2014/main" id="{8D0E7A96-7945-3050-FC11-7F642FCA1F7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405326" y="6487759"/>
            <a:ext cx="365760" cy="365760"/>
          </a:xfrm>
          <a:prstGeom prst="rect">
            <a:avLst/>
          </a:prstGeom>
        </p:spPr>
      </p:pic>
      <p:pic>
        <p:nvPicPr>
          <p:cNvPr id="7" name="Graphic 6" descr="Yoga with solid fill">
            <a:extLst>
              <a:ext uri="{FF2B5EF4-FFF2-40B4-BE49-F238E27FC236}">
                <a16:creationId xmlns:a16="http://schemas.microsoft.com/office/drawing/2014/main" id="{3120C63C-7CA9-1860-FDE8-8444F6D5EBA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30773" y="6492240"/>
            <a:ext cx="365760" cy="365760"/>
          </a:xfrm>
          <a:prstGeom prst="rect">
            <a:avLst/>
          </a:prstGeom>
        </p:spPr>
      </p:pic>
      <p:sp>
        <p:nvSpPr>
          <p:cNvPr id="4" name="TextBox 3">
            <a:extLst>
              <a:ext uri="{FF2B5EF4-FFF2-40B4-BE49-F238E27FC236}">
                <a16:creationId xmlns:a16="http://schemas.microsoft.com/office/drawing/2014/main" id="{D0A642E2-C6E4-3F8B-9458-37ABC87819F4}"/>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10046147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45889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13. Gateshead District Energy Scheme</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657905459"/>
              </p:ext>
            </p:extLst>
          </p:nvPr>
        </p:nvGraphicFramePr>
        <p:xfrm>
          <a:off x="466725" y="1544754"/>
          <a:ext cx="5494460" cy="2377441"/>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5592">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859847">
                <a:tc>
                  <a:txBody>
                    <a:bodyPr/>
                    <a:lstStyle/>
                    <a:p>
                      <a:r>
                        <a:rPr lang="en-US" sz="1200" b="1"/>
                        <a:t>Description: </a:t>
                      </a:r>
                      <a:r>
                        <a:rPr lang="en-US" sz="1200" b="0"/>
                        <a:t>Gateshead District Energy is a heat network funded and owned by Gateshead Council, and operated by public limited company, Gateshead Energy Company. Working with Flexitricity, they were the first industrial and commercial customer to enter National Grid’s Balancing Mechanism (BM) in 2018. </a:t>
                      </a:r>
                      <a:r>
                        <a:rPr lang="en-US" sz="1200" b="0">
                          <a:hlinkClick r:id="rId6"/>
                        </a:rPr>
                        <a:t>More info</a:t>
                      </a:r>
                      <a:r>
                        <a:rPr lang="en-US" sz="1200" b="0"/>
                        <a:t>.</a:t>
                      </a:r>
                    </a:p>
                  </a:txBody>
                  <a:tcPr/>
                </a:tc>
                <a:extLst>
                  <a:ext uri="{0D108BD9-81ED-4DB2-BD59-A6C34878D82A}">
                    <a16:rowId xmlns:a16="http://schemas.microsoft.com/office/drawing/2014/main" val="1569062850"/>
                  </a:ext>
                </a:extLst>
              </a:tr>
              <a:tr h="286616">
                <a:tc>
                  <a:txBody>
                    <a:bodyPr/>
                    <a:lstStyle/>
                    <a:p>
                      <a:r>
                        <a:rPr lang="en-US" sz="1200" b="1"/>
                        <a:t>Countries: </a:t>
                      </a:r>
                      <a:r>
                        <a:rPr lang="en-US" sz="1200" b="0"/>
                        <a:t>Scotland, United Kingdom</a:t>
                      </a:r>
                      <a:endParaRPr lang="en-US" sz="1200"/>
                    </a:p>
                  </a:txBody>
                  <a:tcPr/>
                </a:tc>
                <a:extLst>
                  <a:ext uri="{0D108BD9-81ED-4DB2-BD59-A6C34878D82A}">
                    <a16:rowId xmlns:a16="http://schemas.microsoft.com/office/drawing/2014/main" val="3782471822"/>
                  </a:ext>
                </a:extLst>
              </a:tr>
              <a:tr h="668770">
                <a:tc>
                  <a:txBody>
                    <a:bodyPr/>
                    <a:lstStyle/>
                    <a:p>
                      <a:r>
                        <a:rPr lang="en-US" sz="1200" b="1"/>
                        <a:t>Organisations:</a:t>
                      </a:r>
                      <a:r>
                        <a:rPr lang="en-US" sz="1200"/>
                        <a:t> </a:t>
                      </a:r>
                    </a:p>
                    <a:p>
                      <a:endParaRPr lang="en-US" sz="1200"/>
                    </a:p>
                    <a:p>
                      <a:endParaRPr lang="en-US" sz="1200"/>
                    </a:p>
                  </a:txBody>
                  <a:tcPr/>
                </a:tc>
                <a:extLst>
                  <a:ext uri="{0D108BD9-81ED-4DB2-BD59-A6C34878D82A}">
                    <a16:rowId xmlns:a16="http://schemas.microsoft.com/office/drawing/2014/main" val="48156588"/>
                  </a:ext>
                </a:extLst>
              </a:tr>
              <a:tr h="286616">
                <a:tc>
                  <a:txBody>
                    <a:bodyPr/>
                    <a:lstStyle/>
                    <a:p>
                      <a:r>
                        <a:rPr lang="en-US" sz="1200" b="1"/>
                        <a:t>Dates: </a:t>
                      </a:r>
                      <a:r>
                        <a:rPr lang="en-US" sz="1200" b="0"/>
                        <a:t>October 2019 – present</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608247649"/>
              </p:ext>
            </p:extLst>
          </p:nvPr>
        </p:nvGraphicFramePr>
        <p:xfrm>
          <a:off x="466725" y="4085467"/>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91791">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1470396">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Provides heat and power to customers via a 5km underground network of heat pipes and high voltage “private-wire” electricity c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Helps to balance the grid through a mixture of 3MWh battery storage, two 2MW CHP engines and a 250,000-litre hot water thermal storage at 30 minutes not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When demand is high, the CHPs are instructed on by National Grid when they are not already running, and the extra heat generated is put into the netwo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At times of excess generation, the CHPs are instructed to turn off instead of shutting off wind farms. This can happen for 20 minutes to an hour without affecting heat customers thanks to the network’s thermal inertia and heat stor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e battery has also allowed the scheme to participate in frequency response and triad avoidance.</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340181135"/>
              </p:ext>
            </p:extLst>
          </p:nvPr>
        </p:nvGraphicFramePr>
        <p:xfrm>
          <a:off x="6276626" y="1544754"/>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55671">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2030329">
                <a:tc>
                  <a:txBody>
                    <a:bodyPr/>
                    <a:lstStyle/>
                    <a:p>
                      <a:pPr marL="171450" indent="-171450">
                        <a:buFont typeface="Arial" panose="020B0604020202020204" pitchFamily="34" charset="0"/>
                        <a:buChar char="•"/>
                      </a:pPr>
                      <a:r>
                        <a:rPr lang="en-US" sz="1200"/>
                        <a:t>The site was awarded a </a:t>
                      </a:r>
                      <a:r>
                        <a:rPr lang="en-US" sz="1200" b="1"/>
                        <a:t>15-year Capacity Market contract, at a clearing price of £18/kW</a:t>
                      </a:r>
                      <a:r>
                        <a:rPr lang="en-US" sz="1200"/>
                        <a:t> in the 2015 T-4 auction. This was brokered through aggregator Flexitricity and </a:t>
                      </a:r>
                      <a:r>
                        <a:rPr lang="en-US" sz="1200" b="1"/>
                        <a:t>pays the Council £60,000 per year</a:t>
                      </a:r>
                      <a:r>
                        <a:rPr lang="en-US" sz="1200"/>
                        <a:t>.</a:t>
                      </a:r>
                    </a:p>
                    <a:p>
                      <a:pPr marL="171450" indent="-171450">
                        <a:buFont typeface="Arial" panose="020B0604020202020204" pitchFamily="34" charset="0"/>
                        <a:buChar char="•"/>
                      </a:pPr>
                      <a:r>
                        <a:rPr lang="en-US" sz="1200"/>
                        <a:t>Gateshead Council’s Energy Services Manager, Jim Gill, stated that “The main challenges in the industry are around price volatility so we need ways to make our business plan more resilient and that’s where grid services come in, extra income streams diversifies the way we can generate revenue and that makes our business case much more stable.”</a:t>
                      </a:r>
                    </a:p>
                    <a:p>
                      <a:pPr marL="171450" indent="-171450">
                        <a:buFont typeface="Arial" panose="020B0604020202020204" pitchFamily="34" charset="0"/>
                        <a:buChar char="•"/>
                      </a:pPr>
                      <a:r>
                        <a:rPr lang="en-US" sz="1200"/>
                        <a:t>Gateshead Council is expanding their heat network and is exploring additional wholesale market trading opportunities. They are also looking at connecting new assets, including a new CHP engine, office buildings and EV charging stations.</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313412031"/>
              </p:ext>
            </p:extLst>
          </p:nvPr>
        </p:nvGraphicFramePr>
        <p:xfrm>
          <a:off x="6276626" y="4085467"/>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5495">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2101945">
                <a:tc>
                  <a:txBody>
                    <a:bodyPr/>
                    <a:lstStyle/>
                    <a:p>
                      <a:pPr marL="171450" indent="-171450">
                        <a:buFont typeface="Arial" panose="020B0604020202020204" pitchFamily="34" charset="0"/>
                        <a:buChar char="•"/>
                      </a:pPr>
                      <a:r>
                        <a:rPr lang="en-US" sz="1200" dirty="0"/>
                        <a:t>There are learnings here about how a natural gas fired CHP heat network is able to participate in flex, and how this could apply to a </a:t>
                      </a:r>
                      <a:r>
                        <a:rPr lang="en-US" sz="1200" dirty="0" err="1"/>
                        <a:t>decarbonised</a:t>
                      </a:r>
                      <a:r>
                        <a:rPr lang="en-US" sz="1200" dirty="0"/>
                        <a:t> network.</a:t>
                      </a:r>
                    </a:p>
                    <a:p>
                      <a:pPr marL="171450" indent="-171450">
                        <a:buFont typeface="Arial" panose="020B0604020202020204" pitchFamily="34" charset="0"/>
                        <a:buChar char="•"/>
                      </a:pPr>
                      <a:r>
                        <a:rPr lang="en-US" sz="1200" dirty="0" err="1"/>
                        <a:t>Flexitricity</a:t>
                      </a:r>
                      <a:r>
                        <a:rPr lang="en-US" sz="1200" dirty="0"/>
                        <a:t> believe that a heat network with a heat pump could offer the same services to National Grid.</a:t>
                      </a:r>
                    </a:p>
                    <a:p>
                      <a:pPr marL="171450" indent="-171450">
                        <a:buFont typeface="Arial" panose="020B0604020202020204" pitchFamily="34" charset="0"/>
                        <a:buChar char="•"/>
                      </a:pPr>
                      <a:r>
                        <a:rPr lang="en-US" sz="1200" dirty="0"/>
                        <a:t>Innovation has been critical to the scheme. Specifically, the use of private wires has made the initiative commercially viable. This was achieved through the purchase of high-voltage assets from the DNO to enable the connection of the private wire network to existing buildings. </a:t>
                      </a:r>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30773" y="6492240"/>
            <a:ext cx="365760" cy="365760"/>
          </a:xfrm>
          <a:prstGeom prst="rect">
            <a:avLst/>
          </a:prstGeom>
        </p:spPr>
      </p:pic>
      <p:pic>
        <p:nvPicPr>
          <p:cNvPr id="11268" name="Picture 4" descr="Asset Metering Report">
            <a:extLst>
              <a:ext uri="{FF2B5EF4-FFF2-40B4-BE49-F238E27FC236}">
                <a16:creationId xmlns:a16="http://schemas.microsoft.com/office/drawing/2014/main" id="{BDB87ACE-4B0C-BF66-6577-614A87A4A72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93278" y="2759846"/>
            <a:ext cx="238125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Gateshead Council Logo (1) – NewcastleGateshead Initiative">
            <a:extLst>
              <a:ext uri="{FF2B5EF4-FFF2-40B4-BE49-F238E27FC236}">
                <a16:creationId xmlns:a16="http://schemas.microsoft.com/office/drawing/2014/main" id="{7F281E64-565B-00E2-201A-A3125814F75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93085" y="3043192"/>
            <a:ext cx="1384579" cy="385808"/>
          </a:xfrm>
          <a:prstGeom prst="rect">
            <a:avLst/>
          </a:prstGeom>
          <a:noFill/>
          <a:extLst>
            <a:ext uri="{909E8E84-426E-40DD-AFC4-6F175D3DCCD1}">
              <a14:hiddenFill xmlns:a14="http://schemas.microsoft.com/office/drawing/2010/main">
                <a:solidFill>
                  <a:srgbClr val="FFFFFF"/>
                </a:solidFill>
              </a14:hiddenFill>
            </a:ext>
          </a:extLst>
        </p:spPr>
      </p:pic>
      <p:pic>
        <p:nvPicPr>
          <p:cNvPr id="14344" name="Picture 8" descr="Mine Source Boreholes | Mine Source Geothermal Borehole Systems | Drilcorp">
            <a:extLst>
              <a:ext uri="{FF2B5EF4-FFF2-40B4-BE49-F238E27FC236}">
                <a16:creationId xmlns:a16="http://schemas.microsoft.com/office/drawing/2014/main" id="{99DE8042-92BA-79C7-AC8A-1960C949EAC7}"/>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3937" t="19585" r="12432" b="20150"/>
          <a:stretch/>
        </p:blipFill>
        <p:spPr bwMode="auto">
          <a:xfrm>
            <a:off x="3112732" y="3012052"/>
            <a:ext cx="991292" cy="44808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9D36814-8CCC-6FEB-E8ED-4B0C0C8A1E5F}"/>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35046715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283374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14. IEA Annex 57 (1/2)</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2823939291"/>
              </p:ext>
            </p:extLst>
          </p:nvPr>
        </p:nvGraphicFramePr>
        <p:xfrm>
          <a:off x="466725" y="1544755"/>
          <a:ext cx="5494460" cy="228600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35373">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496367">
                <a:tc>
                  <a:txBody>
                    <a:bodyPr/>
                    <a:lstStyle/>
                    <a:p>
                      <a:r>
                        <a:rPr lang="en-US" sz="1200" b="1"/>
                        <a:t>Description: </a:t>
                      </a:r>
                      <a:r>
                        <a:rPr lang="en-US" sz="1200" b="0"/>
                        <a:t>Annex 57 (“Flexibility by implementation of heat pumps in multi-vector energy systems and thermal networks”) was a project carried out within the IEA’s Technology Collaboration Programme on Heat Pumping Technologies. It focused on solutions for heat networks and individual heat pumps that can create flexibility for the electrical grid. </a:t>
                      </a:r>
                      <a:r>
                        <a:rPr lang="en-US" sz="1200" b="0">
                          <a:hlinkClick r:id="rId6"/>
                        </a:rPr>
                        <a:t>More info.</a:t>
                      </a:r>
                      <a:endParaRPr lang="en-US" sz="1200" b="0"/>
                    </a:p>
                  </a:txBody>
                  <a:tcPr/>
                </a:tc>
                <a:extLst>
                  <a:ext uri="{0D108BD9-81ED-4DB2-BD59-A6C34878D82A}">
                    <a16:rowId xmlns:a16="http://schemas.microsoft.com/office/drawing/2014/main" val="1569062850"/>
                  </a:ext>
                </a:extLst>
              </a:tr>
              <a:tr h="135373">
                <a:tc>
                  <a:txBody>
                    <a:bodyPr/>
                    <a:lstStyle/>
                    <a:p>
                      <a:r>
                        <a:rPr lang="en-US" sz="1200" b="1"/>
                        <a:t>Countries:</a:t>
                      </a:r>
                      <a:r>
                        <a:rPr lang="en-US" sz="1200"/>
                        <a:t> Austria, Denmark, Germany, Netherlands, Sweden</a:t>
                      </a:r>
                    </a:p>
                  </a:txBody>
                  <a:tcPr/>
                </a:tc>
                <a:extLst>
                  <a:ext uri="{0D108BD9-81ED-4DB2-BD59-A6C34878D82A}">
                    <a16:rowId xmlns:a16="http://schemas.microsoft.com/office/drawing/2014/main" val="3782471822"/>
                  </a:ext>
                </a:extLst>
              </a:tr>
              <a:tr h="225621">
                <a:tc>
                  <a:txBody>
                    <a:bodyPr/>
                    <a:lstStyle/>
                    <a:p>
                      <a:r>
                        <a:rPr lang="en-US" sz="1200" b="1"/>
                        <a:t>Organisations:</a:t>
                      </a:r>
                      <a:r>
                        <a:rPr lang="en-US" sz="1200"/>
                        <a:t> Technology Collaboration Programme on Heat Pumping Technologies by IEA</a:t>
                      </a:r>
                    </a:p>
                  </a:txBody>
                  <a:tcPr/>
                </a:tc>
                <a:extLst>
                  <a:ext uri="{0D108BD9-81ED-4DB2-BD59-A6C34878D82A}">
                    <a16:rowId xmlns:a16="http://schemas.microsoft.com/office/drawing/2014/main" val="48156588"/>
                  </a:ext>
                </a:extLst>
              </a:tr>
              <a:tr h="135373">
                <a:tc>
                  <a:txBody>
                    <a:bodyPr/>
                    <a:lstStyle/>
                    <a:p>
                      <a:r>
                        <a:rPr lang="en-US" sz="1200" b="1"/>
                        <a:t>Dates: </a:t>
                      </a:r>
                      <a:r>
                        <a:rPr lang="en-US" sz="1200" b="0"/>
                        <a:t>January 2020 – November 2024</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725268254"/>
              </p:ext>
            </p:extLst>
          </p:nvPr>
        </p:nvGraphicFramePr>
        <p:xfrm>
          <a:off x="466725" y="3965325"/>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210312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Built on Annex 47 which showed that up to 50% of heating demand in Europe could be met by district heating, and 25% of this could be met by heat pum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Annex 57 focused on the implementation of heat pumps in district heating/cooling systems and the creation of flexibility in the thermal network and electrical gr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Performed energy market analysis of the 5 countries involv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Collected and described 28 real-life cases where heat pumps are integrated and generating flexibility. Detailed descriptions of each example can be found </a:t>
                      </a:r>
                      <a:r>
                        <a:rPr lang="en-US" sz="1200">
                          <a:hlinkClick r:id="rId7"/>
                        </a:rPr>
                        <a:t>here</a:t>
                      </a:r>
                      <a:r>
                        <a:rPr lang="en-US" sz="120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Barriers and solutions for individual heat pumps and large-scale heat pumps in district heating networks were identified.</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1628500992"/>
              </p:ext>
            </p:extLst>
          </p:nvPr>
        </p:nvGraphicFramePr>
        <p:xfrm>
          <a:off x="6276626" y="1544755"/>
          <a:ext cx="5494460" cy="219456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It was shown by various analyses that large heat pumps for district heating have a high economical potential to operate accordingly and act in ancillary services.</a:t>
                      </a:r>
                    </a:p>
                    <a:p>
                      <a:pPr marL="171450" indent="-171450">
                        <a:buFont typeface="Arial" panose="020B0604020202020204" pitchFamily="34" charset="0"/>
                        <a:buChar char="•"/>
                      </a:pPr>
                      <a:r>
                        <a:rPr lang="en-US" sz="1200"/>
                        <a:t>Some of the cases showed that heat pumps can act in the ancillary service market, especially if they are combined with electrical boilers and weekly storages. But this is a new way to control heat pumps, and there are still barriers to overcome.</a:t>
                      </a:r>
                    </a:p>
                    <a:p>
                      <a:pPr marL="171450" indent="-171450">
                        <a:buFont typeface="Arial" panose="020B0604020202020204" pitchFamily="34" charset="0"/>
                        <a:buChar char="•"/>
                      </a:pPr>
                      <a:r>
                        <a:rPr lang="en-US" sz="1200"/>
                        <a:t>Several limiting factors to the ramp-up times of large-scale heat pumps were identified including pressure and temperature fluctuations, component stress and wear, heat pump configuration, compressor type and refrigerant type.</a:t>
                      </a:r>
                    </a:p>
                    <a:p>
                      <a:pPr marL="171450" indent="-171450">
                        <a:buFont typeface="Arial" panose="020B0604020202020204" pitchFamily="34" charset="0"/>
                        <a:buChar char="•"/>
                      </a:pPr>
                      <a:r>
                        <a:rPr lang="en-US" sz="1200"/>
                        <a:t>Barriers to flexibility provision from heat pumps were identified from a technical, regulatory, economic and social perspective.</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1951330027"/>
              </p:ext>
            </p:extLst>
          </p:nvPr>
        </p:nvGraphicFramePr>
        <p:xfrm>
          <a:off x="6276626" y="3965325"/>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a:t>Different types of FCR and </a:t>
                      </a:r>
                      <a:r>
                        <a:rPr lang="en-US" sz="1200" err="1"/>
                        <a:t>aFRR</a:t>
                      </a:r>
                      <a:r>
                        <a:rPr lang="en-US" sz="1200"/>
                        <a:t> showed the highest cost reduction, while </a:t>
                      </a:r>
                      <a:r>
                        <a:rPr lang="en-US" sz="1200" err="1"/>
                        <a:t>mFRR</a:t>
                      </a:r>
                      <a:r>
                        <a:rPr lang="en-US" sz="1200"/>
                        <a:t> was slightly less profitable.</a:t>
                      </a:r>
                    </a:p>
                    <a:p>
                      <a:pPr marL="171450" indent="-171450">
                        <a:buFont typeface="Arial" panose="020B0604020202020204" pitchFamily="34" charset="0"/>
                        <a:buChar char="•"/>
                      </a:pPr>
                      <a:r>
                        <a:rPr lang="en-US" sz="1200"/>
                        <a:t>The combination of a heat pump and an electrical boiler gives certain advantages regarding reaction time and capacity. When it comes to delivering ancillary services, the boiler can react very fast up and down, and it can, thereby, supplement the heat pump to reach the bid limit when the plant operator is putting offers into the market.</a:t>
                      </a:r>
                    </a:p>
                    <a:p>
                      <a:pPr marL="171450" indent="-171450">
                        <a:buFont typeface="Arial" panose="020B0604020202020204" pitchFamily="34" charset="0"/>
                        <a:buChar char="•"/>
                      </a:pPr>
                      <a:r>
                        <a:rPr lang="en-US" sz="1200"/>
                        <a:t>There are international examples of heat pumps in thermal grids participating in TSOs ancillary markets. One is the CO2 heat pump in </a:t>
                      </a:r>
                      <a:r>
                        <a:rPr lang="en-US" sz="1200" err="1"/>
                        <a:t>Sdr</a:t>
                      </a:r>
                      <a:r>
                        <a:rPr lang="en-US" sz="1200"/>
                        <a:t>. </a:t>
                      </a:r>
                      <a:r>
                        <a:rPr lang="en-US" sz="1200" err="1"/>
                        <a:t>Felding</a:t>
                      </a:r>
                      <a:r>
                        <a:rPr lang="en-US" sz="1200"/>
                        <a:t>, which is the first site in Denmark to obtain the official qualification to deliver </a:t>
                      </a:r>
                      <a:r>
                        <a:rPr lang="en-US" sz="1200" err="1"/>
                        <a:t>aFRR</a:t>
                      </a:r>
                      <a:r>
                        <a:rPr lang="en-US" sz="1200"/>
                        <a:t> regulation. In Denmark this requires a start-up time of max 5 minutes and a min bid size of 1MW.</a:t>
                      </a:r>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30773" y="6492240"/>
            <a:ext cx="365760" cy="365760"/>
          </a:xfrm>
          <a:prstGeom prst="rect">
            <a:avLst/>
          </a:prstGeom>
        </p:spPr>
      </p:pic>
      <p:sp>
        <p:nvSpPr>
          <p:cNvPr id="3" name="TextBox 2">
            <a:extLst>
              <a:ext uri="{FF2B5EF4-FFF2-40B4-BE49-F238E27FC236}">
                <a16:creationId xmlns:a16="http://schemas.microsoft.com/office/drawing/2014/main" id="{E22227F0-E944-E70E-DE76-06727EFB6BB1}"/>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25065072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A2CA8C-9A91-A355-E0C1-E3E7CE6AA796}"/>
              </a:ext>
            </a:extLst>
          </p:cNvPr>
          <p:cNvGraphicFramePr>
            <a:graphicFrameLocks noChangeAspect="1"/>
          </p:cNvGraphicFramePr>
          <p:nvPr>
            <p:custDataLst>
              <p:tags r:id="rId1"/>
            </p:custDataLst>
            <p:extLst>
              <p:ext uri="{D42A27DB-BD31-4B8C-83A1-F6EECF244321}">
                <p14:modId xmlns:p14="http://schemas.microsoft.com/office/powerpoint/2010/main" val="412055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7" name="think-cell data - do not delete" hidden="1">
                        <a:extLst>
                          <a:ext uri="{FF2B5EF4-FFF2-40B4-BE49-F238E27FC236}">
                            <a16:creationId xmlns:a16="http://schemas.microsoft.com/office/drawing/2014/main" id="{35A2CA8C-9A91-A355-E0C1-E3E7CE6AA7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165249-D023-8D5C-F8BA-DD83AADD9B45}"/>
              </a:ext>
            </a:extLst>
          </p:cNvPr>
          <p:cNvSpPr>
            <a:spLocks noGrp="1"/>
          </p:cNvSpPr>
          <p:nvPr>
            <p:ph type="title"/>
          </p:nvPr>
        </p:nvSpPr>
        <p:spPr/>
        <p:txBody>
          <a:bodyPr vert="horz"/>
          <a:lstStyle/>
          <a:p>
            <a:r>
              <a:rPr lang="en-US"/>
              <a:t>14. IEA Annex 57 (2/2)</a:t>
            </a:r>
          </a:p>
        </p:txBody>
      </p:sp>
      <p:pic>
        <p:nvPicPr>
          <p:cNvPr id="5" name="Picture 4">
            <a:extLst>
              <a:ext uri="{FF2B5EF4-FFF2-40B4-BE49-F238E27FC236}">
                <a16:creationId xmlns:a16="http://schemas.microsoft.com/office/drawing/2014/main" id="{49B0A417-2D91-8A14-B9C3-D183BC25F9E4}"/>
              </a:ext>
            </a:extLst>
          </p:cNvPr>
          <p:cNvPicPr>
            <a:picLocks noChangeAspect="1"/>
          </p:cNvPicPr>
          <p:nvPr/>
        </p:nvPicPr>
        <p:blipFill>
          <a:blip r:embed="rId5"/>
          <a:stretch>
            <a:fillRect/>
          </a:stretch>
        </p:blipFill>
        <p:spPr>
          <a:xfrm>
            <a:off x="420915" y="1307512"/>
            <a:ext cx="5791498" cy="3873699"/>
          </a:xfrm>
          <a:prstGeom prst="rect">
            <a:avLst/>
          </a:prstGeom>
        </p:spPr>
      </p:pic>
      <p:sp>
        <p:nvSpPr>
          <p:cNvPr id="6" name="TextBox 5">
            <a:extLst>
              <a:ext uri="{FF2B5EF4-FFF2-40B4-BE49-F238E27FC236}">
                <a16:creationId xmlns:a16="http://schemas.microsoft.com/office/drawing/2014/main" id="{5619CFF9-45AF-5B24-D33B-80A27A1DAA97}"/>
              </a:ext>
            </a:extLst>
          </p:cNvPr>
          <p:cNvSpPr txBox="1"/>
          <p:nvPr/>
        </p:nvSpPr>
        <p:spPr>
          <a:xfrm>
            <a:off x="466960" y="5273489"/>
            <a:ext cx="5629040" cy="276999"/>
          </a:xfrm>
          <a:prstGeom prst="rect">
            <a:avLst/>
          </a:prstGeom>
          <a:noFill/>
        </p:spPr>
        <p:txBody>
          <a:bodyPr wrap="square">
            <a:spAutoFit/>
          </a:bodyPr>
          <a:lstStyle/>
          <a:p>
            <a:r>
              <a:rPr lang="en-US" sz="1200" i="1"/>
              <a:t>Annex 57 Overview of barriers for flexibility business models</a:t>
            </a:r>
          </a:p>
        </p:txBody>
      </p:sp>
      <p:pic>
        <p:nvPicPr>
          <p:cNvPr id="13" name="Picture 12">
            <a:extLst>
              <a:ext uri="{FF2B5EF4-FFF2-40B4-BE49-F238E27FC236}">
                <a16:creationId xmlns:a16="http://schemas.microsoft.com/office/drawing/2014/main" id="{637E5789-0D07-4E90-CA04-B625B0F910F9}"/>
              </a:ext>
            </a:extLst>
          </p:cNvPr>
          <p:cNvPicPr>
            <a:picLocks noChangeAspect="1"/>
          </p:cNvPicPr>
          <p:nvPr/>
        </p:nvPicPr>
        <p:blipFill>
          <a:blip r:embed="rId6"/>
          <a:srcRect l="1651" r="433" b="1569"/>
          <a:stretch/>
        </p:blipFill>
        <p:spPr>
          <a:xfrm>
            <a:off x="6262477" y="1392119"/>
            <a:ext cx="5508608" cy="2507022"/>
          </a:xfrm>
          <a:prstGeom prst="rect">
            <a:avLst/>
          </a:prstGeom>
        </p:spPr>
      </p:pic>
      <p:sp>
        <p:nvSpPr>
          <p:cNvPr id="14" name="TextBox 13">
            <a:extLst>
              <a:ext uri="{FF2B5EF4-FFF2-40B4-BE49-F238E27FC236}">
                <a16:creationId xmlns:a16="http://schemas.microsoft.com/office/drawing/2014/main" id="{CD4723A3-A1B8-8E26-9890-1EC6FD4095BC}"/>
              </a:ext>
            </a:extLst>
          </p:cNvPr>
          <p:cNvSpPr txBox="1"/>
          <p:nvPr/>
        </p:nvSpPr>
        <p:spPr>
          <a:xfrm>
            <a:off x="6262477" y="3993904"/>
            <a:ext cx="5508608" cy="461665"/>
          </a:xfrm>
          <a:prstGeom prst="rect">
            <a:avLst/>
          </a:prstGeom>
          <a:noFill/>
        </p:spPr>
        <p:txBody>
          <a:bodyPr wrap="square">
            <a:spAutoFit/>
          </a:bodyPr>
          <a:lstStyle/>
          <a:p>
            <a:r>
              <a:rPr lang="en-US" sz="1200" i="1"/>
              <a:t>District heating levels towards 2030 and 2050 for heating buildings for EU27, </a:t>
            </a:r>
          </a:p>
          <a:p>
            <a:r>
              <a:rPr lang="en-US" sz="1200" i="1"/>
              <a:t>per EU country and UK. (Aalborg university)</a:t>
            </a:r>
          </a:p>
        </p:txBody>
      </p:sp>
      <p:pic>
        <p:nvPicPr>
          <p:cNvPr id="18" name="Graphic 17" descr="Full battery with solid fill">
            <a:extLst>
              <a:ext uri="{FF2B5EF4-FFF2-40B4-BE49-F238E27FC236}">
                <a16:creationId xmlns:a16="http://schemas.microsoft.com/office/drawing/2014/main" id="{CED47719-D59F-09C1-3CDD-2363731089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0739" y="6491344"/>
            <a:ext cx="365760" cy="365760"/>
          </a:xfrm>
          <a:prstGeom prst="rect">
            <a:avLst/>
          </a:prstGeom>
        </p:spPr>
      </p:pic>
      <p:pic>
        <p:nvPicPr>
          <p:cNvPr id="19" name="Graphic 18" descr="Leaf with solid fill">
            <a:extLst>
              <a:ext uri="{FF2B5EF4-FFF2-40B4-BE49-F238E27FC236}">
                <a16:creationId xmlns:a16="http://schemas.microsoft.com/office/drawing/2014/main" id="{C28DC62B-921A-E170-4CEB-002A8B9FAD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05326" y="6487759"/>
            <a:ext cx="365760" cy="365760"/>
          </a:xfrm>
          <a:prstGeom prst="rect">
            <a:avLst/>
          </a:prstGeom>
        </p:spPr>
      </p:pic>
      <p:pic>
        <p:nvPicPr>
          <p:cNvPr id="20" name="Graphic 19" descr="Yoga with solid fill">
            <a:extLst>
              <a:ext uri="{FF2B5EF4-FFF2-40B4-BE49-F238E27FC236}">
                <a16:creationId xmlns:a16="http://schemas.microsoft.com/office/drawing/2014/main" id="{A462E3C2-B72E-531B-C9A0-2CFCFFCB2A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30773" y="6492240"/>
            <a:ext cx="365760" cy="365760"/>
          </a:xfrm>
          <a:prstGeom prst="rect">
            <a:avLst/>
          </a:prstGeom>
        </p:spPr>
      </p:pic>
      <p:sp>
        <p:nvSpPr>
          <p:cNvPr id="3" name="TextBox 2">
            <a:extLst>
              <a:ext uri="{FF2B5EF4-FFF2-40B4-BE49-F238E27FC236}">
                <a16:creationId xmlns:a16="http://schemas.microsoft.com/office/drawing/2014/main" id="{965A9602-C272-B62C-79AB-7F18F5903A3C}"/>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1169560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A796E-FA92-75BB-0670-6AB894D9738E}"/>
              </a:ext>
            </a:extLst>
          </p:cNvPr>
          <p:cNvSpPr txBox="1">
            <a:spLocks/>
          </p:cNvSpPr>
          <p:nvPr/>
        </p:nvSpPr>
        <p:spPr>
          <a:xfrm>
            <a:off x="370917" y="4071740"/>
            <a:ext cx="11388692" cy="551591"/>
          </a:xfrm>
          <a:prstGeom prst="rect">
            <a:avLst/>
          </a:prstGeom>
        </p:spPr>
        <p:txBody>
          <a:bodyPr vert="horz" anchor="t"/>
          <a:lstStyle>
            <a:lvl1pPr marL="0" marR="0" indent="0" algn="l" defTabSz="914400" rtl="0" eaLnBrk="1" fontAlgn="auto" latinLnBrk="0" hangingPunct="1">
              <a:lnSpc>
                <a:spcPct val="100000"/>
              </a:lnSpc>
              <a:spcBef>
                <a:spcPts val="0"/>
              </a:spcBef>
              <a:spcAft>
                <a:spcPts val="0"/>
              </a:spcAft>
              <a:buClrTx/>
              <a:buSzTx/>
              <a:buFontTx/>
              <a:buNone/>
              <a:tabLst/>
              <a:defRPr sz="4400" kern="1200">
                <a:solidFill>
                  <a:schemeClr val="tx1"/>
                </a:solidFill>
                <a:latin typeface="+mj-lt"/>
                <a:ea typeface="+mj-ea"/>
                <a:cs typeface="+mj-cs"/>
              </a:defRPr>
            </a:lvl1pPr>
          </a:lstStyle>
          <a:p>
            <a:r>
              <a:rPr lang="en-GB" sz="3200" b="1">
                <a:solidFill>
                  <a:schemeClr val="bg1"/>
                </a:solidFill>
                <a:latin typeface="Arial"/>
                <a:cs typeface="Arial"/>
              </a:rPr>
              <a:t>Introduction to Horizon Scan</a:t>
            </a:r>
            <a:endParaRPr lang="en-GB" sz="3200" b="1">
              <a:solidFill>
                <a:schemeClr val="bg1"/>
              </a:solidFill>
            </a:endParaRPr>
          </a:p>
        </p:txBody>
      </p:sp>
    </p:spTree>
    <p:extLst>
      <p:ext uri="{BB962C8B-B14F-4D97-AF65-F5344CB8AC3E}">
        <p14:creationId xmlns:p14="http://schemas.microsoft.com/office/powerpoint/2010/main" val="11644827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15389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dirty="0"/>
              <a:t>15. Flexi-Sync (1/3)</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1713332614"/>
              </p:ext>
            </p:extLst>
          </p:nvPr>
        </p:nvGraphicFramePr>
        <p:xfrm>
          <a:off x="466725" y="1261291"/>
          <a:ext cx="5494460" cy="21031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117167">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202234">
                <a:tc>
                  <a:txBody>
                    <a:bodyPr/>
                    <a:lstStyle/>
                    <a:p>
                      <a:r>
                        <a:rPr lang="en-US" sz="1200" b="1" dirty="0"/>
                        <a:t>Description: </a:t>
                      </a:r>
                      <a:r>
                        <a:rPr lang="en-US" sz="1200" b="0" dirty="0"/>
                        <a:t>ERA-Net Smart Energy Systems funded project which aimed to develop, demonstrate and replicate a service to optimise the flexibility from district heating networks and heat customers. </a:t>
                      </a:r>
                      <a:r>
                        <a:rPr lang="en-US" sz="1200" b="0" dirty="0">
                          <a:hlinkClick r:id="rId6"/>
                        </a:rPr>
                        <a:t>More info</a:t>
                      </a:r>
                      <a:r>
                        <a:rPr lang="en-US" sz="1200" b="0" dirty="0"/>
                        <a:t>.</a:t>
                      </a:r>
                    </a:p>
                  </a:txBody>
                  <a:tcPr/>
                </a:tc>
                <a:extLst>
                  <a:ext uri="{0D108BD9-81ED-4DB2-BD59-A6C34878D82A}">
                    <a16:rowId xmlns:a16="http://schemas.microsoft.com/office/drawing/2014/main" val="1569062850"/>
                  </a:ext>
                </a:extLst>
              </a:tr>
              <a:tr h="117167">
                <a:tc>
                  <a:txBody>
                    <a:bodyPr/>
                    <a:lstStyle/>
                    <a:p>
                      <a:r>
                        <a:rPr lang="en-US" sz="1200" b="1"/>
                        <a:t>Countries: </a:t>
                      </a:r>
                      <a:r>
                        <a:rPr lang="en-US" sz="1200" b="0"/>
                        <a:t>Austria, Germany, Spain, Sweden</a:t>
                      </a:r>
                      <a:endParaRPr lang="en-US" sz="1200"/>
                    </a:p>
                  </a:txBody>
                  <a:tcPr/>
                </a:tc>
                <a:extLst>
                  <a:ext uri="{0D108BD9-81ED-4DB2-BD59-A6C34878D82A}">
                    <a16:rowId xmlns:a16="http://schemas.microsoft.com/office/drawing/2014/main" val="3782471822"/>
                  </a:ext>
                </a:extLst>
              </a:tr>
              <a:tr h="117167">
                <a:tc>
                  <a:txBody>
                    <a:bodyPr/>
                    <a:lstStyle/>
                    <a:p>
                      <a:r>
                        <a:rPr lang="en-US" sz="1200" b="1"/>
                        <a:t>Organisations:</a:t>
                      </a:r>
                      <a:r>
                        <a:rPr lang="en-US" sz="1200"/>
                        <a:t> </a:t>
                      </a:r>
                    </a:p>
                    <a:p>
                      <a:r>
                        <a:rPr lang="en-US" sz="1200"/>
                        <a:t>Coordinator: </a:t>
                      </a:r>
                    </a:p>
                    <a:p>
                      <a:endParaRPr lang="en-US" sz="1200"/>
                    </a:p>
                  </a:txBody>
                  <a:tcPr/>
                </a:tc>
                <a:extLst>
                  <a:ext uri="{0D108BD9-81ED-4DB2-BD59-A6C34878D82A}">
                    <a16:rowId xmlns:a16="http://schemas.microsoft.com/office/drawing/2014/main" val="48156588"/>
                  </a:ext>
                </a:extLst>
              </a:tr>
              <a:tr h="117167">
                <a:tc>
                  <a:txBody>
                    <a:bodyPr/>
                    <a:lstStyle/>
                    <a:p>
                      <a:r>
                        <a:rPr lang="en-US" sz="1200" b="1" dirty="0"/>
                        <a:t>Dates: </a:t>
                      </a:r>
                      <a:r>
                        <a:rPr lang="en-US" sz="1200" b="0" dirty="0"/>
                        <a:t>2019 – 2022</a:t>
                      </a:r>
                      <a:endParaRPr lang="en-US" sz="1200" dirty="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4212155521"/>
              </p:ext>
            </p:extLst>
          </p:nvPr>
        </p:nvGraphicFramePr>
        <p:xfrm>
          <a:off x="466725" y="3541183"/>
          <a:ext cx="5494460" cy="2709732"/>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8257">
                <a:tc>
                  <a:txBody>
                    <a:bodyPr/>
                    <a:lstStyle/>
                    <a:p>
                      <a:r>
                        <a:rPr lang="en-US" sz="1200" dirty="0"/>
                        <a:t>Approach</a:t>
                      </a:r>
                    </a:p>
                  </a:txBody>
                  <a:tcPr>
                    <a:solidFill>
                      <a:srgbClr val="9C1420"/>
                    </a:solidFill>
                  </a:tcPr>
                </a:tc>
                <a:extLst>
                  <a:ext uri="{0D108BD9-81ED-4DB2-BD59-A6C34878D82A}">
                    <a16:rowId xmlns:a16="http://schemas.microsoft.com/office/drawing/2014/main" val="1789174452"/>
                  </a:ext>
                </a:extLst>
              </a:tr>
              <a:tr h="243147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e project developed an optimisation service based on platforms previously developed by Utilifeed and </a:t>
                      </a:r>
                      <a:r>
                        <a:rPr lang="en-US" sz="1200" dirty="0">
                          <a:highlight>
                            <a:srgbClr val="00FF00"/>
                          </a:highlight>
                        </a:rPr>
                        <a:t>NODA Intelligent Systems</a:t>
                      </a:r>
                      <a:r>
                        <a:rPr lang="en-US" sz="1200" dirty="0"/>
                        <a:t>. Software for optimising the energy system with an expanded system boundary was develop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t tested the new service in live district heating networks and buildings in the heating season of 2021-2022. There were 6 demonstration sites across the four participating countries. The demonstration work was primarily carried out by Utilifeed and NODA, in close collaboration with the demo site partn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nteractions were set up between the Utilifeed platform and the NODA system, which executed the control in the buildings providing flexi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e solution used a combination of thermal storage, the thermal inertia of the buildings and heat network and and smart controls to optimise operations.</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3506101001"/>
              </p:ext>
            </p:extLst>
          </p:nvPr>
        </p:nvGraphicFramePr>
        <p:xfrm>
          <a:off x="6276626" y="1261291"/>
          <a:ext cx="5494460" cy="25603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06652">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1997633">
                <a:tc>
                  <a:txBody>
                    <a:bodyPr/>
                    <a:lstStyle/>
                    <a:p>
                      <a:pPr marL="171450" indent="-171450">
                        <a:buFont typeface="Arial" panose="020B0604020202020204" pitchFamily="34" charset="0"/>
                        <a:buChar char="•"/>
                      </a:pPr>
                      <a:r>
                        <a:rPr lang="en-US" sz="1200" dirty="0"/>
                        <a:t>Production planners used the tool to optimise the production and distribution together with the flexibility in the buildings by sending a control signal from the tool. The production planners logged their experiences with using the tool and validated that it works. All six sites were also evaluated for more extended periods through simulation where the optimal dispatches, with and without the flexibility measures, were compared.</a:t>
                      </a:r>
                    </a:p>
                    <a:p>
                      <a:pPr marL="171450" indent="-171450">
                        <a:buFont typeface="Arial" panose="020B0604020202020204" pitchFamily="34" charset="0"/>
                        <a:buChar char="•"/>
                      </a:pPr>
                      <a:r>
                        <a:rPr lang="en-US" sz="1200" dirty="0"/>
                        <a:t>Through the integration, a flexibility potential of the flexibility-enabled buildings for the upcoming hours and days has been sent from the NODA system. These forecasts have been </a:t>
                      </a:r>
                      <a:r>
                        <a:rPr lang="en-US" sz="1200" dirty="0" err="1"/>
                        <a:t>utilised</a:t>
                      </a:r>
                      <a:r>
                        <a:rPr lang="en-US" sz="1200" dirty="0"/>
                        <a:t> in the system optimisation in the Utilifeed platform. The </a:t>
                      </a:r>
                      <a:r>
                        <a:rPr lang="en-US" sz="1200" dirty="0" err="1"/>
                        <a:t>optimised</a:t>
                      </a:r>
                      <a:r>
                        <a:rPr lang="en-US" sz="1200" dirty="0"/>
                        <a:t> flexibility plan has then been sent back to NODA, which has executed the plan while at the same time guaranteeing the indoor climate in the buildings providing flexibility.</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826445646"/>
              </p:ext>
            </p:extLst>
          </p:nvPr>
        </p:nvGraphicFramePr>
        <p:xfrm>
          <a:off x="6276626" y="3873475"/>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09318">
                <a:tc>
                  <a:txBody>
                    <a:bodyPr/>
                    <a:lstStyle/>
                    <a:p>
                      <a:r>
                        <a:rPr lang="en-US" sz="1200" dirty="0"/>
                        <a:t>Learnings for Heatropolis</a:t>
                      </a:r>
                    </a:p>
                  </a:txBody>
                  <a:tcPr>
                    <a:solidFill>
                      <a:srgbClr val="9C1420"/>
                    </a:solidFill>
                  </a:tcPr>
                </a:tc>
                <a:extLst>
                  <a:ext uri="{0D108BD9-81ED-4DB2-BD59-A6C34878D82A}">
                    <a16:rowId xmlns:a16="http://schemas.microsoft.com/office/drawing/2014/main" val="1789174452"/>
                  </a:ext>
                </a:extLst>
              </a:tr>
              <a:tr h="1604775">
                <a:tc>
                  <a:txBody>
                    <a:bodyPr/>
                    <a:lstStyle/>
                    <a:p>
                      <a:pPr marL="171450" indent="-171450">
                        <a:buFont typeface="Arial" panose="020B0604020202020204" pitchFamily="34" charset="0"/>
                        <a:buChar char="•"/>
                      </a:pPr>
                      <a:r>
                        <a:rPr lang="en-US" sz="1200" dirty="0"/>
                        <a:t>This project showed that there were no complaints from residents about the thermal comfort of the buildings being used to provide flexibility, providing a positive indication for similar tests in the Heatropolis trials.</a:t>
                      </a:r>
                    </a:p>
                    <a:p>
                      <a:pPr marL="171450" indent="-171450">
                        <a:buFont typeface="Arial" panose="020B0604020202020204" pitchFamily="34" charset="0"/>
                        <a:buChar char="•"/>
                      </a:pPr>
                      <a:r>
                        <a:rPr lang="en-US" sz="1200" dirty="0"/>
                        <a:t>Results from surveys and workshops done in the project showed that it is essential that occupants understand the flexibility setup but that it is difficult to inform them in an understandable and accessible way. This highlights the importance of educating trial participants as best as we can through WP6.</a:t>
                      </a:r>
                    </a:p>
                    <a:p>
                      <a:pPr marL="171450" indent="-171450">
                        <a:buFont typeface="Arial" panose="020B0604020202020204" pitchFamily="34" charset="0"/>
                        <a:buChar char="•"/>
                      </a:pPr>
                      <a:r>
                        <a:rPr lang="en-US" sz="1200" dirty="0"/>
                        <a:t>The survey also showed that respondents preferred a flexibility setup in which they have control over the flexibility and are compensated economically for temperature ranges larger than ±0.5°C, over flexibility setups with the same variation and no control or more considerable variations without control.</a:t>
                      </a:r>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30773" y="6492240"/>
            <a:ext cx="365760" cy="365760"/>
          </a:xfrm>
          <a:prstGeom prst="rect">
            <a:avLst/>
          </a:prstGeom>
        </p:spPr>
      </p:pic>
      <p:pic>
        <p:nvPicPr>
          <p:cNvPr id="1026" name="Picture 2" descr="Sustainable research and consultancy - IVL.se">
            <a:extLst>
              <a:ext uri="{FF2B5EF4-FFF2-40B4-BE49-F238E27FC236}">
                <a16:creationId xmlns:a16="http://schemas.microsoft.com/office/drawing/2014/main" id="{FD4CB930-13E3-7F56-83A6-91D389F7C70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10106" y="2530397"/>
            <a:ext cx="712470" cy="49979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27530B4-E1DF-5FFE-727E-7795DCF8BCC9}"/>
              </a:ext>
            </a:extLst>
          </p:cNvPr>
          <p:cNvSpPr txBox="1"/>
          <p:nvPr/>
        </p:nvSpPr>
        <p:spPr>
          <a:xfrm>
            <a:off x="2863134" y="2539656"/>
            <a:ext cx="2200311" cy="461665"/>
          </a:xfrm>
          <a:prstGeom prst="rect">
            <a:avLst/>
          </a:prstGeom>
          <a:noFill/>
        </p:spPr>
        <p:txBody>
          <a:bodyPr wrap="square">
            <a:spAutoFit/>
          </a:bodyPr>
          <a:lstStyle/>
          <a:p>
            <a:r>
              <a:rPr lang="en-US" sz="1200"/>
              <a:t>16 partner organisations across the participating countries</a:t>
            </a:r>
          </a:p>
        </p:txBody>
      </p:sp>
      <p:sp>
        <p:nvSpPr>
          <p:cNvPr id="4" name="TextBox 3">
            <a:extLst>
              <a:ext uri="{FF2B5EF4-FFF2-40B4-BE49-F238E27FC236}">
                <a16:creationId xmlns:a16="http://schemas.microsoft.com/office/drawing/2014/main" id="{F6C0B082-69F1-6615-C543-499B20F3FFC9}"/>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9157697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ACE6D-C5DF-FC02-278E-CF83088AE91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905D66F-76FB-E1F2-963B-90E247D5AE41}"/>
              </a:ext>
            </a:extLst>
          </p:cNvPr>
          <p:cNvGraphicFramePr>
            <a:graphicFrameLocks noChangeAspect="1"/>
          </p:cNvGraphicFramePr>
          <p:nvPr>
            <p:custDataLst>
              <p:tags r:id="rId1"/>
            </p:custDataLst>
            <p:extLst>
              <p:ext uri="{D42A27DB-BD31-4B8C-83A1-F6EECF244321}">
                <p14:modId xmlns:p14="http://schemas.microsoft.com/office/powerpoint/2010/main" val="1872675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7" name="think-cell data - do not delete" hidden="1">
                        <a:extLst>
                          <a:ext uri="{FF2B5EF4-FFF2-40B4-BE49-F238E27FC236}">
                            <a16:creationId xmlns:a16="http://schemas.microsoft.com/office/drawing/2014/main" id="{1905D66F-76FB-E1F2-963B-90E247D5AE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230487-6CDC-9CBC-770F-E8197D10281D}"/>
              </a:ext>
            </a:extLst>
          </p:cNvPr>
          <p:cNvSpPr>
            <a:spLocks noGrp="1"/>
          </p:cNvSpPr>
          <p:nvPr>
            <p:ph type="title"/>
          </p:nvPr>
        </p:nvSpPr>
        <p:spPr/>
        <p:txBody>
          <a:bodyPr vert="horz"/>
          <a:lstStyle/>
          <a:p>
            <a:r>
              <a:rPr lang="en-US" dirty="0"/>
              <a:t>15. Flexi-Sync (2/3)</a:t>
            </a:r>
          </a:p>
        </p:txBody>
      </p:sp>
      <p:pic>
        <p:nvPicPr>
          <p:cNvPr id="12" name="Picture 11">
            <a:extLst>
              <a:ext uri="{FF2B5EF4-FFF2-40B4-BE49-F238E27FC236}">
                <a16:creationId xmlns:a16="http://schemas.microsoft.com/office/drawing/2014/main" id="{1E4968C6-B40F-F8B2-799E-D00C672E631E}"/>
              </a:ext>
            </a:extLst>
          </p:cNvPr>
          <p:cNvPicPr>
            <a:picLocks noChangeAspect="1"/>
          </p:cNvPicPr>
          <p:nvPr/>
        </p:nvPicPr>
        <p:blipFill>
          <a:blip r:embed="rId5"/>
          <a:stretch>
            <a:fillRect/>
          </a:stretch>
        </p:blipFill>
        <p:spPr>
          <a:xfrm>
            <a:off x="466959" y="1017936"/>
            <a:ext cx="5508608" cy="1558950"/>
          </a:xfrm>
          <a:prstGeom prst="rect">
            <a:avLst/>
          </a:prstGeom>
        </p:spPr>
      </p:pic>
      <p:pic>
        <p:nvPicPr>
          <p:cNvPr id="16" name="Picture 15">
            <a:extLst>
              <a:ext uri="{FF2B5EF4-FFF2-40B4-BE49-F238E27FC236}">
                <a16:creationId xmlns:a16="http://schemas.microsoft.com/office/drawing/2014/main" id="{2EE3D732-40B4-19B3-1DAB-86E78122E1D7}"/>
              </a:ext>
            </a:extLst>
          </p:cNvPr>
          <p:cNvPicPr>
            <a:picLocks noChangeAspect="1"/>
          </p:cNvPicPr>
          <p:nvPr/>
        </p:nvPicPr>
        <p:blipFill>
          <a:blip r:embed="rId6"/>
          <a:srcRect t="1008"/>
          <a:stretch/>
        </p:blipFill>
        <p:spPr>
          <a:xfrm>
            <a:off x="466959" y="2642615"/>
            <a:ext cx="5508608" cy="2162605"/>
          </a:xfrm>
          <a:prstGeom prst="rect">
            <a:avLst/>
          </a:prstGeom>
        </p:spPr>
      </p:pic>
      <p:pic>
        <p:nvPicPr>
          <p:cNvPr id="21" name="Picture 20">
            <a:extLst>
              <a:ext uri="{FF2B5EF4-FFF2-40B4-BE49-F238E27FC236}">
                <a16:creationId xmlns:a16="http://schemas.microsoft.com/office/drawing/2014/main" id="{55BE114B-0AC2-0C8E-FE4D-CDAEF0570735}"/>
              </a:ext>
            </a:extLst>
          </p:cNvPr>
          <p:cNvPicPr>
            <a:picLocks noChangeAspect="1"/>
          </p:cNvPicPr>
          <p:nvPr/>
        </p:nvPicPr>
        <p:blipFill>
          <a:blip r:embed="rId7"/>
          <a:stretch>
            <a:fillRect/>
          </a:stretch>
        </p:blipFill>
        <p:spPr>
          <a:xfrm>
            <a:off x="471494" y="4810557"/>
            <a:ext cx="5504073" cy="1875362"/>
          </a:xfrm>
          <a:prstGeom prst="rect">
            <a:avLst/>
          </a:prstGeom>
        </p:spPr>
      </p:pic>
      <p:pic>
        <p:nvPicPr>
          <p:cNvPr id="23" name="Picture 22">
            <a:extLst>
              <a:ext uri="{FF2B5EF4-FFF2-40B4-BE49-F238E27FC236}">
                <a16:creationId xmlns:a16="http://schemas.microsoft.com/office/drawing/2014/main" id="{1B587640-2053-0E62-8B8B-38A0AED2D8D1}"/>
              </a:ext>
            </a:extLst>
          </p:cNvPr>
          <p:cNvPicPr>
            <a:picLocks noChangeAspect="1"/>
          </p:cNvPicPr>
          <p:nvPr/>
        </p:nvPicPr>
        <p:blipFill>
          <a:blip r:embed="rId8"/>
          <a:stretch>
            <a:fillRect/>
          </a:stretch>
        </p:blipFill>
        <p:spPr>
          <a:xfrm>
            <a:off x="6216435" y="423576"/>
            <a:ext cx="5504073" cy="2284610"/>
          </a:xfrm>
          <a:prstGeom prst="rect">
            <a:avLst/>
          </a:prstGeom>
        </p:spPr>
      </p:pic>
      <p:pic>
        <p:nvPicPr>
          <p:cNvPr id="25" name="Picture 24">
            <a:extLst>
              <a:ext uri="{FF2B5EF4-FFF2-40B4-BE49-F238E27FC236}">
                <a16:creationId xmlns:a16="http://schemas.microsoft.com/office/drawing/2014/main" id="{2EB51C4C-C952-71F2-0F08-47746603E821}"/>
              </a:ext>
            </a:extLst>
          </p:cNvPr>
          <p:cNvPicPr>
            <a:picLocks noChangeAspect="1"/>
          </p:cNvPicPr>
          <p:nvPr/>
        </p:nvPicPr>
        <p:blipFill>
          <a:blip r:embed="rId9"/>
          <a:stretch>
            <a:fillRect/>
          </a:stretch>
        </p:blipFill>
        <p:spPr>
          <a:xfrm>
            <a:off x="6216435" y="2708186"/>
            <a:ext cx="5508608" cy="2317414"/>
          </a:xfrm>
          <a:prstGeom prst="rect">
            <a:avLst/>
          </a:prstGeom>
        </p:spPr>
      </p:pic>
      <p:pic>
        <p:nvPicPr>
          <p:cNvPr id="27" name="Picture 26">
            <a:extLst>
              <a:ext uri="{FF2B5EF4-FFF2-40B4-BE49-F238E27FC236}">
                <a16:creationId xmlns:a16="http://schemas.microsoft.com/office/drawing/2014/main" id="{3EDE17F4-0A9F-56A6-756A-EE8BB80B4F0F}"/>
              </a:ext>
            </a:extLst>
          </p:cNvPr>
          <p:cNvPicPr>
            <a:picLocks noChangeAspect="1"/>
          </p:cNvPicPr>
          <p:nvPr/>
        </p:nvPicPr>
        <p:blipFill>
          <a:blip r:embed="rId10"/>
          <a:stretch>
            <a:fillRect/>
          </a:stretch>
        </p:blipFill>
        <p:spPr>
          <a:xfrm>
            <a:off x="6211898" y="5025600"/>
            <a:ext cx="5508608" cy="1674136"/>
          </a:xfrm>
          <a:prstGeom prst="rect">
            <a:avLst/>
          </a:prstGeom>
        </p:spPr>
      </p:pic>
    </p:spTree>
    <p:extLst>
      <p:ext uri="{BB962C8B-B14F-4D97-AF65-F5344CB8AC3E}">
        <p14:creationId xmlns:p14="http://schemas.microsoft.com/office/powerpoint/2010/main" val="25360466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E9C0A-21B1-2C0C-C231-CE7D5AF557F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F670CA7-2424-4571-BD08-B1FA494AD1DA}"/>
              </a:ext>
            </a:extLst>
          </p:cNvPr>
          <p:cNvGraphicFramePr>
            <a:graphicFrameLocks noChangeAspect="1"/>
          </p:cNvGraphicFramePr>
          <p:nvPr>
            <p:custDataLst>
              <p:tags r:id="rId1"/>
            </p:custDataLst>
            <p:extLst>
              <p:ext uri="{D42A27DB-BD31-4B8C-83A1-F6EECF244321}">
                <p14:modId xmlns:p14="http://schemas.microsoft.com/office/powerpoint/2010/main" val="347678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7" name="think-cell data - do not delete" hidden="1">
                        <a:extLst>
                          <a:ext uri="{FF2B5EF4-FFF2-40B4-BE49-F238E27FC236}">
                            <a16:creationId xmlns:a16="http://schemas.microsoft.com/office/drawing/2014/main" id="{1F670CA7-2424-4571-BD08-B1FA494AD1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B25547-6056-073C-9F29-A0D1ACBC1167}"/>
              </a:ext>
            </a:extLst>
          </p:cNvPr>
          <p:cNvSpPr>
            <a:spLocks noGrp="1"/>
          </p:cNvSpPr>
          <p:nvPr>
            <p:ph type="title"/>
          </p:nvPr>
        </p:nvSpPr>
        <p:spPr/>
        <p:txBody>
          <a:bodyPr vert="horz"/>
          <a:lstStyle/>
          <a:p>
            <a:r>
              <a:rPr lang="en-US" dirty="0"/>
              <a:t>15. Flexi-Sync (3/3)</a:t>
            </a:r>
          </a:p>
        </p:txBody>
      </p:sp>
      <p:sp>
        <p:nvSpPr>
          <p:cNvPr id="14" name="TextBox 13">
            <a:extLst>
              <a:ext uri="{FF2B5EF4-FFF2-40B4-BE49-F238E27FC236}">
                <a16:creationId xmlns:a16="http://schemas.microsoft.com/office/drawing/2014/main" id="{533217D1-DB54-CBCD-EB05-8A595BE0A153}"/>
              </a:ext>
            </a:extLst>
          </p:cNvPr>
          <p:cNvSpPr txBox="1"/>
          <p:nvPr/>
        </p:nvSpPr>
        <p:spPr>
          <a:xfrm>
            <a:off x="466959" y="3645866"/>
            <a:ext cx="5508608" cy="276999"/>
          </a:xfrm>
          <a:prstGeom prst="rect">
            <a:avLst/>
          </a:prstGeom>
          <a:noFill/>
        </p:spPr>
        <p:txBody>
          <a:bodyPr wrap="square">
            <a:spAutoFit/>
          </a:bodyPr>
          <a:lstStyle/>
          <a:p>
            <a:r>
              <a:rPr lang="en-US" sz="1200" i="1" dirty="0"/>
              <a:t>Diagram showing the solution developed and tested by the Flexi-Sync project</a:t>
            </a:r>
          </a:p>
        </p:txBody>
      </p:sp>
      <p:pic>
        <p:nvPicPr>
          <p:cNvPr id="18" name="Graphic 17" descr="Full battery with solid fill">
            <a:extLst>
              <a:ext uri="{FF2B5EF4-FFF2-40B4-BE49-F238E27FC236}">
                <a16:creationId xmlns:a16="http://schemas.microsoft.com/office/drawing/2014/main" id="{A119621B-7720-2D16-9F5D-A491DEA0A7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0739" y="6491344"/>
            <a:ext cx="365760" cy="365760"/>
          </a:xfrm>
          <a:prstGeom prst="rect">
            <a:avLst/>
          </a:prstGeom>
        </p:spPr>
      </p:pic>
      <p:pic>
        <p:nvPicPr>
          <p:cNvPr id="19" name="Graphic 18" descr="Leaf with solid fill">
            <a:extLst>
              <a:ext uri="{FF2B5EF4-FFF2-40B4-BE49-F238E27FC236}">
                <a16:creationId xmlns:a16="http://schemas.microsoft.com/office/drawing/2014/main" id="{3CF2BC58-B67E-D777-5CAE-6BD7ED597F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405326" y="6487759"/>
            <a:ext cx="365760" cy="365760"/>
          </a:xfrm>
          <a:prstGeom prst="rect">
            <a:avLst/>
          </a:prstGeom>
        </p:spPr>
      </p:pic>
      <p:pic>
        <p:nvPicPr>
          <p:cNvPr id="20" name="Graphic 19" descr="Yoga with solid fill">
            <a:extLst>
              <a:ext uri="{FF2B5EF4-FFF2-40B4-BE49-F238E27FC236}">
                <a16:creationId xmlns:a16="http://schemas.microsoft.com/office/drawing/2014/main" id="{7DC8EEEE-10A5-32DE-376B-056F9B5848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30773" y="6492240"/>
            <a:ext cx="365760" cy="365760"/>
          </a:xfrm>
          <a:prstGeom prst="rect">
            <a:avLst/>
          </a:prstGeom>
        </p:spPr>
      </p:pic>
      <p:sp>
        <p:nvSpPr>
          <p:cNvPr id="3" name="TextBox 2">
            <a:extLst>
              <a:ext uri="{FF2B5EF4-FFF2-40B4-BE49-F238E27FC236}">
                <a16:creationId xmlns:a16="http://schemas.microsoft.com/office/drawing/2014/main" id="{CE30D719-AA73-3373-6FB6-0DD2649B39BB}"/>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pic>
        <p:nvPicPr>
          <p:cNvPr id="8" name="Picture 7">
            <a:extLst>
              <a:ext uri="{FF2B5EF4-FFF2-40B4-BE49-F238E27FC236}">
                <a16:creationId xmlns:a16="http://schemas.microsoft.com/office/drawing/2014/main" id="{49230445-DDCC-29E9-0CB0-5733816C9BFC}"/>
              </a:ext>
            </a:extLst>
          </p:cNvPr>
          <p:cNvPicPr>
            <a:picLocks noChangeAspect="1"/>
          </p:cNvPicPr>
          <p:nvPr/>
        </p:nvPicPr>
        <p:blipFill>
          <a:blip r:embed="rId11"/>
          <a:stretch>
            <a:fillRect/>
          </a:stretch>
        </p:blipFill>
        <p:spPr>
          <a:xfrm>
            <a:off x="466959" y="1249112"/>
            <a:ext cx="7760099" cy="2311519"/>
          </a:xfrm>
          <a:prstGeom prst="rect">
            <a:avLst/>
          </a:prstGeom>
        </p:spPr>
      </p:pic>
    </p:spTree>
    <p:extLst>
      <p:ext uri="{BB962C8B-B14F-4D97-AF65-F5344CB8AC3E}">
        <p14:creationId xmlns:p14="http://schemas.microsoft.com/office/powerpoint/2010/main" val="7020781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B649B-8D68-EDF5-C337-3185D873114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F9EF67-C1FD-2A7A-5721-7590B369E2EE}"/>
              </a:ext>
            </a:extLst>
          </p:cNvPr>
          <p:cNvGraphicFramePr>
            <a:graphicFrameLocks noChangeAspect="1"/>
          </p:cNvGraphicFramePr>
          <p:nvPr>
            <p:custDataLst>
              <p:tags r:id="rId1"/>
            </p:custDataLst>
            <p:extLst>
              <p:ext uri="{D42A27DB-BD31-4B8C-83A1-F6EECF244321}">
                <p14:modId xmlns:p14="http://schemas.microsoft.com/office/powerpoint/2010/main" val="170850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F3F9EF67-C1FD-2A7A-5721-7590B369E2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CB3404-6A72-4BDF-5E55-AC7D5579A100}"/>
              </a:ext>
            </a:extLst>
          </p:cNvPr>
          <p:cNvSpPr>
            <a:spLocks noGrp="1"/>
          </p:cNvSpPr>
          <p:nvPr>
            <p:ph type="title"/>
          </p:nvPr>
        </p:nvSpPr>
        <p:spPr/>
        <p:txBody>
          <a:bodyPr vert="horz">
            <a:normAutofit fontScale="90000"/>
          </a:bodyPr>
          <a:lstStyle/>
          <a:p>
            <a:r>
              <a:rPr lang="en-US"/>
              <a:t>16. Whole system value of electrified district heating networks in decarbonising heat sector in the UK</a:t>
            </a:r>
          </a:p>
        </p:txBody>
      </p:sp>
      <p:graphicFrame>
        <p:nvGraphicFramePr>
          <p:cNvPr id="9" name="Content Placeholder 8">
            <a:extLst>
              <a:ext uri="{FF2B5EF4-FFF2-40B4-BE49-F238E27FC236}">
                <a16:creationId xmlns:a16="http://schemas.microsoft.com/office/drawing/2014/main" id="{0C4EF7B9-D6BC-33DB-4641-845210D496B7}"/>
              </a:ext>
            </a:extLst>
          </p:cNvPr>
          <p:cNvGraphicFramePr>
            <a:graphicFrameLocks noGrp="1"/>
          </p:cNvGraphicFramePr>
          <p:nvPr>
            <p:ph idx="1"/>
            <p:extLst>
              <p:ext uri="{D42A27DB-BD31-4B8C-83A1-F6EECF244321}">
                <p14:modId xmlns:p14="http://schemas.microsoft.com/office/powerpoint/2010/main" val="2257966044"/>
              </p:ext>
            </p:extLst>
          </p:nvPr>
        </p:nvGraphicFramePr>
        <p:xfrm>
          <a:off x="466725" y="1544754"/>
          <a:ext cx="5494460" cy="2194559"/>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5819">
                <a:tc>
                  <a:txBody>
                    <a:bodyPr/>
                    <a:lstStyle/>
                    <a:p>
                      <a:r>
                        <a:rPr lang="en-US" sz="1200" dirty="0"/>
                        <a:t>Project Overview</a:t>
                      </a:r>
                    </a:p>
                  </a:txBody>
                  <a:tcPr>
                    <a:solidFill>
                      <a:srgbClr val="9C1420"/>
                    </a:solidFill>
                  </a:tcPr>
                </a:tc>
                <a:extLst>
                  <a:ext uri="{0D108BD9-81ED-4DB2-BD59-A6C34878D82A}">
                    <a16:rowId xmlns:a16="http://schemas.microsoft.com/office/drawing/2014/main" val="1789174452"/>
                  </a:ext>
                </a:extLst>
              </a:tr>
              <a:tr h="671559">
                <a:tc>
                  <a:txBody>
                    <a:bodyPr/>
                    <a:lstStyle/>
                    <a:p>
                      <a:r>
                        <a:rPr lang="en-US" sz="1200" b="1" dirty="0"/>
                        <a:t>Description: </a:t>
                      </a:r>
                      <a:r>
                        <a:rPr lang="en-US" sz="1200" b="0" dirty="0"/>
                        <a:t>Study assessing the whole-system value of using centralised heating technologies to supply a portion of heat demand in the UK in 2035, in contrast to decentralized electrified heat supply. </a:t>
                      </a:r>
                      <a:r>
                        <a:rPr lang="en-US" sz="1200" b="0" dirty="0">
                          <a:hlinkClick r:id="rId6"/>
                        </a:rPr>
                        <a:t>More info</a:t>
                      </a:r>
                      <a:r>
                        <a:rPr lang="en-US" sz="1200" b="0" dirty="0"/>
                        <a:t>.</a:t>
                      </a:r>
                    </a:p>
                  </a:txBody>
                  <a:tcPr/>
                </a:tc>
                <a:extLst>
                  <a:ext uri="{0D108BD9-81ED-4DB2-BD59-A6C34878D82A}">
                    <a16:rowId xmlns:a16="http://schemas.microsoft.com/office/drawing/2014/main" val="1569062850"/>
                  </a:ext>
                </a:extLst>
              </a:tr>
              <a:tr h="287811">
                <a:tc>
                  <a:txBody>
                    <a:bodyPr/>
                    <a:lstStyle/>
                    <a:p>
                      <a:r>
                        <a:rPr lang="en-US" sz="1200" b="1"/>
                        <a:t>Countries:</a:t>
                      </a:r>
                      <a:r>
                        <a:rPr lang="en-US" sz="1200"/>
                        <a:t> United Kingdom</a:t>
                      </a:r>
                    </a:p>
                  </a:txBody>
                  <a:tcPr/>
                </a:tc>
                <a:extLst>
                  <a:ext uri="{0D108BD9-81ED-4DB2-BD59-A6C34878D82A}">
                    <a16:rowId xmlns:a16="http://schemas.microsoft.com/office/drawing/2014/main" val="3782471822"/>
                  </a:ext>
                </a:extLst>
              </a:tr>
              <a:tr h="671559">
                <a:tc>
                  <a:txBody>
                    <a:bodyPr/>
                    <a:lstStyle/>
                    <a:p>
                      <a:r>
                        <a:rPr lang="en-US" sz="1200" b="1"/>
                        <a:t>Organisations:</a:t>
                      </a:r>
                      <a:r>
                        <a:rPr lang="en-US" sz="1200"/>
                        <a:t> </a:t>
                      </a:r>
                    </a:p>
                    <a:p>
                      <a:endParaRPr lang="en-US" sz="1200"/>
                    </a:p>
                    <a:p>
                      <a:endParaRPr lang="en-US" sz="1200"/>
                    </a:p>
                  </a:txBody>
                  <a:tcPr/>
                </a:tc>
                <a:extLst>
                  <a:ext uri="{0D108BD9-81ED-4DB2-BD59-A6C34878D82A}">
                    <a16:rowId xmlns:a16="http://schemas.microsoft.com/office/drawing/2014/main" val="48156588"/>
                  </a:ext>
                </a:extLst>
              </a:tr>
              <a:tr h="287811">
                <a:tc>
                  <a:txBody>
                    <a:bodyPr/>
                    <a:lstStyle/>
                    <a:p>
                      <a:r>
                        <a:rPr lang="en-US" sz="1200" b="1" dirty="0"/>
                        <a:t>Dates: </a:t>
                      </a:r>
                      <a:r>
                        <a:rPr lang="en-US" sz="1200" b="0" dirty="0"/>
                        <a:t>April 2024</a:t>
                      </a:r>
                      <a:endParaRPr lang="en-US" sz="1200" dirty="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C27AF575-7596-414D-B3E5-6049F0D097DD}"/>
              </a:ext>
            </a:extLst>
          </p:cNvPr>
          <p:cNvGraphicFramePr>
            <a:graphicFrameLocks/>
          </p:cNvGraphicFramePr>
          <p:nvPr>
            <p:extLst>
              <p:ext uri="{D42A27DB-BD31-4B8C-83A1-F6EECF244321}">
                <p14:modId xmlns:p14="http://schemas.microsoft.com/office/powerpoint/2010/main" val="634520733"/>
              </p:ext>
            </p:extLst>
          </p:nvPr>
        </p:nvGraphicFramePr>
        <p:xfrm>
          <a:off x="466725" y="3824648"/>
          <a:ext cx="5494460" cy="25603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6600">
                <a:tc>
                  <a:txBody>
                    <a:bodyPr/>
                    <a:lstStyle/>
                    <a:p>
                      <a:r>
                        <a:rPr lang="en-US" sz="1200" dirty="0"/>
                        <a:t>Approach</a:t>
                      </a:r>
                    </a:p>
                  </a:txBody>
                  <a:tcPr>
                    <a:solidFill>
                      <a:srgbClr val="9C1420"/>
                    </a:solidFill>
                  </a:tcPr>
                </a:tc>
                <a:extLst>
                  <a:ext uri="{0D108BD9-81ED-4DB2-BD59-A6C34878D82A}">
                    <a16:rowId xmlns:a16="http://schemas.microsoft.com/office/drawing/2014/main" val="1789174452"/>
                  </a:ext>
                </a:extLst>
              </a:tr>
              <a:tr h="228372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Performed whole system analysis using the Whole-electricity System Investment Model (WeSIM) developed by Imperial College London to evaluate the potential cost savings from rolling out electrical district heating networks to supply some of the UK’s annual heat demand in 203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Quantified system cost reductions compared to relevant counterfactual scenari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e model included centralised electric boilers, centralised air source heat pumps and decentralised air source heat pumps, centralised and decentralised thermal energy stor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e model assumed that the electricity sector is decarbonized and 50% of total domestic and commercial heat is supplied by electrified heating technolog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16D3F03A-98F2-3AC7-64E1-AD3E3EC98C73}"/>
              </a:ext>
            </a:extLst>
          </p:cNvPr>
          <p:cNvGraphicFramePr>
            <a:graphicFrameLocks/>
          </p:cNvGraphicFramePr>
          <p:nvPr>
            <p:extLst>
              <p:ext uri="{D42A27DB-BD31-4B8C-83A1-F6EECF244321}">
                <p14:modId xmlns:p14="http://schemas.microsoft.com/office/powerpoint/2010/main" val="1918049281"/>
              </p:ext>
            </p:extLst>
          </p:nvPr>
        </p:nvGraphicFramePr>
        <p:xfrm>
          <a:off x="6276626" y="1544755"/>
          <a:ext cx="5494460" cy="219456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62890">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1840230">
                <a:tc>
                  <a:txBody>
                    <a:bodyPr/>
                    <a:lstStyle/>
                    <a:p>
                      <a:pPr marL="171450" indent="-171450">
                        <a:buFont typeface="Arial" panose="020B0604020202020204" pitchFamily="34" charset="0"/>
                        <a:buChar char="•"/>
                      </a:pPr>
                      <a:r>
                        <a:rPr lang="en-US" sz="1200" dirty="0"/>
                        <a:t>Cost savings in scenarios excluding centralised electric boilers are significantly higher than in corresponding scenarios including these within heat networks.</a:t>
                      </a:r>
                    </a:p>
                    <a:p>
                      <a:pPr marL="171450" indent="-171450">
                        <a:buFont typeface="Arial" panose="020B0604020202020204" pitchFamily="34" charset="0"/>
                        <a:buChar char="•"/>
                      </a:pPr>
                      <a:r>
                        <a:rPr lang="en-US" sz="1200" dirty="0"/>
                        <a:t>Whole system benefits increase with higher uptake levels of electrified heat networks in supplying electrified heat demand.</a:t>
                      </a:r>
                    </a:p>
                    <a:p>
                      <a:pPr marL="171450" indent="-171450">
                        <a:buFont typeface="Arial" panose="020B0604020202020204" pitchFamily="34" charset="0"/>
                        <a:buChar char="•"/>
                      </a:pPr>
                      <a:r>
                        <a:rPr lang="en-US" sz="1200" dirty="0"/>
                        <a:t>The inclusion of centralised electric boilers to meet peak demand results in increased reinforcement costs of distribution networks compared to counterfactual scenarios with heat pumps only. This is because their COP is effectively equal to 1, meaning the grid needs to meet a higher peak demand.</a:t>
                      </a:r>
                    </a:p>
                    <a:p>
                      <a:pPr marL="171450" indent="-171450">
                        <a:buFont typeface="Arial" panose="020B0604020202020204" pitchFamily="34" charset="0"/>
                        <a:buChar char="•"/>
                      </a:pPr>
                      <a:r>
                        <a:rPr lang="en-US" sz="1200" dirty="0"/>
                        <a:t>Increasing the amount of heat network thermal energy storage results in significantly lower peak demand.</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694DDC4B-3693-9C23-9839-83620B8F85EC}"/>
              </a:ext>
            </a:extLst>
          </p:cNvPr>
          <p:cNvGraphicFramePr>
            <a:graphicFrameLocks/>
          </p:cNvGraphicFramePr>
          <p:nvPr>
            <p:extLst>
              <p:ext uri="{D42A27DB-BD31-4B8C-83A1-F6EECF244321}">
                <p14:modId xmlns:p14="http://schemas.microsoft.com/office/powerpoint/2010/main" val="2378989398"/>
              </p:ext>
            </p:extLst>
          </p:nvPr>
        </p:nvGraphicFramePr>
        <p:xfrm>
          <a:off x="6276626" y="3824648"/>
          <a:ext cx="5494460" cy="256032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0">
                <a:tc>
                  <a:txBody>
                    <a:bodyPr/>
                    <a:lstStyle/>
                    <a:p>
                      <a:pPr marL="171450" indent="-171450">
                        <a:buFont typeface="Arial" panose="020B0604020202020204" pitchFamily="34" charset="0"/>
                        <a:buChar char="•"/>
                      </a:pPr>
                      <a:r>
                        <a:rPr lang="en-US" sz="1200" dirty="0"/>
                        <a:t>Quantitative modelling shows that a system-wide rollout of electrified heat networks could result in significant cost savings from a whole-system perspective, highlighting the need and importance of the Heatropolis project.</a:t>
                      </a:r>
                    </a:p>
                    <a:p>
                      <a:pPr marL="171450" indent="-171450">
                        <a:buFont typeface="Arial" panose="020B0604020202020204" pitchFamily="34" charset="0"/>
                        <a:buChar char="•"/>
                      </a:pPr>
                      <a:r>
                        <a:rPr lang="en-US" sz="1200" dirty="0"/>
                        <a:t>The study demonstrates that rolling out heat networks can result in a reduction in total installed capacity of zero-carbon generation and energy storage. This reduction is significantly higher when centralised electric boilers are excluded as </a:t>
                      </a:r>
                      <a:r>
                        <a:rPr lang="en-US" sz="1200" dirty="0" err="1"/>
                        <a:t>utilising</a:t>
                      </a:r>
                      <a:r>
                        <a:rPr lang="en-US" sz="1200" dirty="0"/>
                        <a:t> centralised heat pumps with high COPs is more efficient than a mix of heat pumps and electric boilers with low COP.</a:t>
                      </a:r>
                    </a:p>
                    <a:p>
                      <a:pPr marL="171450" indent="-171450">
                        <a:buFont typeface="Arial" panose="020B0604020202020204" pitchFamily="34" charset="0"/>
                        <a:buChar char="•"/>
                      </a:pPr>
                      <a:r>
                        <a:rPr lang="en-US" sz="1200" dirty="0"/>
                        <a:t>Given that several of the Heatropolis archetypes are planning to use a combination of heat pumps and electric boilers, we should look at the practical implications of this and see if it is possible to use flexibility to reduce the use and reliance on the electric boilers.</a:t>
                      </a:r>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2B15474A-2C7A-A00F-2300-899C28B3DD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E758EB17-73B6-8134-CE3C-0C92EDF171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4470E2D0-33F8-5145-51AE-644D114AA3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30773" y="6492240"/>
            <a:ext cx="365760" cy="365760"/>
          </a:xfrm>
          <a:prstGeom prst="rect">
            <a:avLst/>
          </a:prstGeom>
        </p:spPr>
      </p:pic>
      <p:sp>
        <p:nvSpPr>
          <p:cNvPr id="4" name="TextBox 3">
            <a:extLst>
              <a:ext uri="{FF2B5EF4-FFF2-40B4-BE49-F238E27FC236}">
                <a16:creationId xmlns:a16="http://schemas.microsoft.com/office/drawing/2014/main" id="{AFA6F247-418A-2D83-8C29-87C0B9C76980}"/>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pic>
        <p:nvPicPr>
          <p:cNvPr id="7" name="Picture 6">
            <a:extLst>
              <a:ext uri="{FF2B5EF4-FFF2-40B4-BE49-F238E27FC236}">
                <a16:creationId xmlns:a16="http://schemas.microsoft.com/office/drawing/2014/main" id="{3390CDA2-0312-D9F4-0632-B9D5504D51E1}"/>
              </a:ext>
            </a:extLst>
          </p:cNvPr>
          <p:cNvPicPr>
            <a:picLocks noChangeAspect="1"/>
          </p:cNvPicPr>
          <p:nvPr/>
        </p:nvPicPr>
        <p:blipFill>
          <a:blip r:embed="rId13"/>
          <a:stretch>
            <a:fillRect/>
          </a:stretch>
        </p:blipFill>
        <p:spPr>
          <a:xfrm>
            <a:off x="1588355" y="2866379"/>
            <a:ext cx="1374653" cy="404815"/>
          </a:xfrm>
          <a:prstGeom prst="rect">
            <a:avLst/>
          </a:prstGeom>
        </p:spPr>
      </p:pic>
      <p:pic>
        <p:nvPicPr>
          <p:cNvPr id="1026" name="Picture 2">
            <a:extLst>
              <a:ext uri="{FF2B5EF4-FFF2-40B4-BE49-F238E27FC236}">
                <a16:creationId xmlns:a16="http://schemas.microsoft.com/office/drawing/2014/main" id="{EFCDC7F9-1D2B-D2A7-001D-B1F0C7CA071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2001" b="11573"/>
          <a:stretch/>
        </p:blipFill>
        <p:spPr bwMode="auto">
          <a:xfrm>
            <a:off x="3039085" y="2799689"/>
            <a:ext cx="1267558" cy="53819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C9BB8AE7-5B85-F0F1-53AC-2F2D4F52711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36206" y="2922730"/>
            <a:ext cx="1112809" cy="292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45811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AF3CFA-8A90-49F7-ED58-3A262469D369}"/>
              </a:ext>
            </a:extLst>
          </p:cNvPr>
          <p:cNvGraphicFramePr>
            <a:graphicFrameLocks noChangeAspect="1"/>
          </p:cNvGraphicFramePr>
          <p:nvPr>
            <p:custDataLst>
              <p:tags r:id="rId1"/>
            </p:custDataLst>
            <p:extLst>
              <p:ext uri="{D42A27DB-BD31-4B8C-83A1-F6EECF244321}">
                <p14:modId xmlns:p14="http://schemas.microsoft.com/office/powerpoint/2010/main" val="217609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6CAF3CFA-8A90-49F7-ED58-3A262469D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F614BF-A483-E4C6-7661-CBE0AFD1F20D}"/>
              </a:ext>
            </a:extLst>
          </p:cNvPr>
          <p:cNvSpPr>
            <a:spLocks noGrp="1"/>
          </p:cNvSpPr>
          <p:nvPr>
            <p:ph type="title"/>
          </p:nvPr>
        </p:nvSpPr>
        <p:spPr/>
        <p:txBody>
          <a:bodyPr vert="horz"/>
          <a:lstStyle/>
          <a:p>
            <a:r>
              <a:rPr lang="en-US"/>
              <a:t>17. EQUINOX (Equitable Novel Flexibility Exchange)</a:t>
            </a:r>
          </a:p>
        </p:txBody>
      </p:sp>
      <p:graphicFrame>
        <p:nvGraphicFramePr>
          <p:cNvPr id="9" name="Content Placeholder 8">
            <a:extLst>
              <a:ext uri="{FF2B5EF4-FFF2-40B4-BE49-F238E27FC236}">
                <a16:creationId xmlns:a16="http://schemas.microsoft.com/office/drawing/2014/main" id="{FD030C7A-C617-B78D-45B9-2FCB642F1632}"/>
              </a:ext>
            </a:extLst>
          </p:cNvPr>
          <p:cNvGraphicFramePr>
            <a:graphicFrameLocks noGrp="1"/>
          </p:cNvGraphicFramePr>
          <p:nvPr>
            <p:ph idx="1"/>
            <p:extLst>
              <p:ext uri="{D42A27DB-BD31-4B8C-83A1-F6EECF244321}">
                <p14:modId xmlns:p14="http://schemas.microsoft.com/office/powerpoint/2010/main" val="1323221023"/>
              </p:ext>
            </p:extLst>
          </p:nvPr>
        </p:nvGraphicFramePr>
        <p:xfrm>
          <a:off x="466725" y="1544755"/>
          <a:ext cx="5494460" cy="228600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06990">
                <a:tc>
                  <a:txBody>
                    <a:bodyPr/>
                    <a:lstStyle/>
                    <a:p>
                      <a:r>
                        <a:rPr lang="en-US" sz="1200"/>
                        <a:t>Project Overview</a:t>
                      </a:r>
                    </a:p>
                  </a:txBody>
                  <a:tcPr>
                    <a:solidFill>
                      <a:srgbClr val="9C1420"/>
                    </a:solidFill>
                  </a:tcPr>
                </a:tc>
                <a:extLst>
                  <a:ext uri="{0D108BD9-81ED-4DB2-BD59-A6C34878D82A}">
                    <a16:rowId xmlns:a16="http://schemas.microsoft.com/office/drawing/2014/main" val="1789174452"/>
                  </a:ext>
                </a:extLst>
              </a:tr>
              <a:tr h="620970">
                <a:tc>
                  <a:txBody>
                    <a:bodyPr/>
                    <a:lstStyle/>
                    <a:p>
                      <a:r>
                        <a:rPr lang="en-US" sz="1200" b="1"/>
                        <a:t>Description: </a:t>
                      </a:r>
                      <a:r>
                        <a:rPr lang="en-US" sz="1200" b="0"/>
                        <a:t>This Ofgem funded project aims to develop novel commercial arrangements and supporting technologies that unlock flexibility from residential low carbon heating (heat pumps), while meeting the needs of all consumers, including the fuel poor and vulnerable. </a:t>
                      </a:r>
                      <a:r>
                        <a:rPr lang="en-US" sz="1200" b="0">
                          <a:hlinkClick r:id="rId6"/>
                        </a:rPr>
                        <a:t>More info</a:t>
                      </a:r>
                      <a:r>
                        <a:rPr lang="en-US" sz="1200" b="0"/>
                        <a:t>.</a:t>
                      </a:r>
                    </a:p>
                  </a:txBody>
                  <a:tcPr/>
                </a:tc>
                <a:extLst>
                  <a:ext uri="{0D108BD9-81ED-4DB2-BD59-A6C34878D82A}">
                    <a16:rowId xmlns:a16="http://schemas.microsoft.com/office/drawing/2014/main" val="1569062850"/>
                  </a:ext>
                </a:extLst>
              </a:tr>
              <a:tr h="206990">
                <a:tc>
                  <a:txBody>
                    <a:bodyPr/>
                    <a:lstStyle/>
                    <a:p>
                      <a:r>
                        <a:rPr lang="en-US" sz="1200" b="1"/>
                        <a:t>Countries:</a:t>
                      </a:r>
                      <a:r>
                        <a:rPr lang="en-US" sz="1200"/>
                        <a:t> United Kingdom</a:t>
                      </a:r>
                    </a:p>
                  </a:txBody>
                  <a:tcPr/>
                </a:tc>
                <a:extLst>
                  <a:ext uri="{0D108BD9-81ED-4DB2-BD59-A6C34878D82A}">
                    <a16:rowId xmlns:a16="http://schemas.microsoft.com/office/drawing/2014/main" val="3782471822"/>
                  </a:ext>
                </a:extLst>
              </a:tr>
              <a:tr h="482977">
                <a:tc>
                  <a:txBody>
                    <a:bodyPr/>
                    <a:lstStyle/>
                    <a:p>
                      <a:r>
                        <a:rPr lang="en-US" sz="1200" b="1"/>
                        <a:t>Organisations:</a:t>
                      </a:r>
                      <a:r>
                        <a:rPr lang="en-US" sz="1200"/>
                        <a:t> </a:t>
                      </a:r>
                    </a:p>
                    <a:p>
                      <a:endParaRPr lang="en-US" sz="1200"/>
                    </a:p>
                    <a:p>
                      <a:endParaRPr lang="en-US" sz="1200"/>
                    </a:p>
                  </a:txBody>
                  <a:tcPr/>
                </a:tc>
                <a:extLst>
                  <a:ext uri="{0D108BD9-81ED-4DB2-BD59-A6C34878D82A}">
                    <a16:rowId xmlns:a16="http://schemas.microsoft.com/office/drawing/2014/main" val="48156588"/>
                  </a:ext>
                </a:extLst>
              </a:tr>
              <a:tr h="206990">
                <a:tc>
                  <a:txBody>
                    <a:bodyPr/>
                    <a:lstStyle/>
                    <a:p>
                      <a:r>
                        <a:rPr lang="en-US" sz="1200" b="1"/>
                        <a:t>Dates: </a:t>
                      </a:r>
                      <a:r>
                        <a:rPr lang="en-US" sz="1200" b="0"/>
                        <a:t>March 2022 – December 2025</a:t>
                      </a:r>
                      <a:endParaRPr lang="en-US" sz="1200"/>
                    </a:p>
                  </a:txBody>
                  <a:tcPr/>
                </a:tc>
                <a:extLst>
                  <a:ext uri="{0D108BD9-81ED-4DB2-BD59-A6C34878D82A}">
                    <a16:rowId xmlns:a16="http://schemas.microsoft.com/office/drawing/2014/main" val="1759366065"/>
                  </a:ext>
                </a:extLst>
              </a:tr>
            </a:tbl>
          </a:graphicData>
        </a:graphic>
      </p:graphicFrame>
      <p:graphicFrame>
        <p:nvGraphicFramePr>
          <p:cNvPr id="10" name="Content Placeholder 8">
            <a:extLst>
              <a:ext uri="{FF2B5EF4-FFF2-40B4-BE49-F238E27FC236}">
                <a16:creationId xmlns:a16="http://schemas.microsoft.com/office/drawing/2014/main" id="{BFEDF1B4-5000-33C4-DFBE-0609C20271F7}"/>
              </a:ext>
            </a:extLst>
          </p:cNvPr>
          <p:cNvGraphicFramePr>
            <a:graphicFrameLocks/>
          </p:cNvGraphicFramePr>
          <p:nvPr>
            <p:extLst>
              <p:ext uri="{D42A27DB-BD31-4B8C-83A1-F6EECF244321}">
                <p14:modId xmlns:p14="http://schemas.microsoft.com/office/powerpoint/2010/main" val="3520257303"/>
              </p:ext>
            </p:extLst>
          </p:nvPr>
        </p:nvGraphicFramePr>
        <p:xfrm>
          <a:off x="466725" y="3935484"/>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0">
                <a:tc>
                  <a:txBody>
                    <a:bodyPr/>
                    <a:lstStyle/>
                    <a:p>
                      <a:r>
                        <a:rPr lang="en-US" sz="1200"/>
                        <a:t>Approach</a:t>
                      </a:r>
                    </a:p>
                  </a:txBody>
                  <a:tcPr>
                    <a:solidFill>
                      <a:srgbClr val="9C1420"/>
                    </a:solidFill>
                  </a:tcPr>
                </a:tc>
                <a:extLst>
                  <a:ext uri="{0D108BD9-81ED-4DB2-BD59-A6C34878D82A}">
                    <a16:rowId xmlns:a16="http://schemas.microsoft.com/office/drawing/2014/main" val="1789174452"/>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ree trial phases over 3.5 years, building from 365 participants in the first trial to 1,000 in the second tri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e trials are deploying experimental design principles to divide customers into representative groups and test the suitability and effectiveness of different commercial arrangements and processes in unlocking HP flexibility on a large sc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Crossover </a:t>
                      </a:r>
                      <a:r>
                        <a:rPr lang="en-US" sz="1200" err="1"/>
                        <a:t>Randomised</a:t>
                      </a:r>
                      <a:r>
                        <a:rPr lang="en-US" sz="1200"/>
                        <a:t> Control Trial (RCT) enabled robust statistical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e second trial is testing 3 commercial models to </a:t>
                      </a:r>
                      <a:r>
                        <a:rPr lang="en-US" sz="1200" err="1"/>
                        <a:t>incentivise</a:t>
                      </a:r>
                      <a:r>
                        <a:rPr lang="en-US" sz="1200"/>
                        <a:t> trial participants to adjust their heat pump settings. It is also testing 3 notice periods (day ahead, morning ahead and 2 hours ahead), 3 event timings and 3 heat pump control methods (manual customer control, remote customer control​ and automated supplier control​).</a:t>
                      </a:r>
                    </a:p>
                  </a:txBody>
                  <a:tcPr/>
                </a:tc>
                <a:extLst>
                  <a:ext uri="{0D108BD9-81ED-4DB2-BD59-A6C34878D82A}">
                    <a16:rowId xmlns:a16="http://schemas.microsoft.com/office/drawing/2014/main" val="1569062850"/>
                  </a:ext>
                </a:extLst>
              </a:tr>
            </a:tbl>
          </a:graphicData>
        </a:graphic>
      </p:graphicFrame>
      <p:graphicFrame>
        <p:nvGraphicFramePr>
          <p:cNvPr id="11" name="Content Placeholder 8">
            <a:extLst>
              <a:ext uri="{FF2B5EF4-FFF2-40B4-BE49-F238E27FC236}">
                <a16:creationId xmlns:a16="http://schemas.microsoft.com/office/drawing/2014/main" id="{6BFE0656-F6B8-24A0-FED6-ED5B865BB4C8}"/>
              </a:ext>
            </a:extLst>
          </p:cNvPr>
          <p:cNvGraphicFramePr>
            <a:graphicFrameLocks/>
          </p:cNvGraphicFramePr>
          <p:nvPr>
            <p:extLst>
              <p:ext uri="{D42A27DB-BD31-4B8C-83A1-F6EECF244321}">
                <p14:modId xmlns:p14="http://schemas.microsoft.com/office/powerpoint/2010/main" val="3097322616"/>
              </p:ext>
            </p:extLst>
          </p:nvPr>
        </p:nvGraphicFramePr>
        <p:xfrm>
          <a:off x="6276626" y="1544755"/>
          <a:ext cx="5494460" cy="228600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5698">
                <a:tc>
                  <a:txBody>
                    <a:bodyPr/>
                    <a:lstStyle/>
                    <a:p>
                      <a:r>
                        <a:rPr lang="en-US" sz="1200"/>
                        <a:t>Outcomes</a:t>
                      </a:r>
                    </a:p>
                  </a:txBody>
                  <a:tcPr>
                    <a:solidFill>
                      <a:srgbClr val="9C1420"/>
                    </a:solidFill>
                  </a:tcPr>
                </a:tc>
                <a:extLst>
                  <a:ext uri="{0D108BD9-81ED-4DB2-BD59-A6C34878D82A}">
                    <a16:rowId xmlns:a16="http://schemas.microsoft.com/office/drawing/2014/main" val="1789174452"/>
                  </a:ext>
                </a:extLst>
              </a:tr>
              <a:tr h="2010302">
                <a:tc>
                  <a:txBody>
                    <a:bodyPr/>
                    <a:lstStyle/>
                    <a:p>
                      <a:pPr marL="171450" indent="-171450">
                        <a:buFont typeface="Arial" panose="020B0604020202020204" pitchFamily="34" charset="0"/>
                        <a:buChar char="•"/>
                      </a:pPr>
                      <a:r>
                        <a:rPr lang="en-US" sz="1200"/>
                        <a:t>The EQUINOX project has shown that heat pump </a:t>
                      </a:r>
                      <a:r>
                        <a:rPr lang="en-US" sz="1200" err="1"/>
                        <a:t>behavioural</a:t>
                      </a:r>
                      <a:r>
                        <a:rPr lang="en-US" sz="1200"/>
                        <a:t> change can provide meaningful demand shifting out of the evening peak period.</a:t>
                      </a:r>
                    </a:p>
                    <a:p>
                      <a:pPr marL="171450" indent="-171450">
                        <a:buFont typeface="Arial" panose="020B0604020202020204" pitchFamily="34" charset="0"/>
                        <a:buChar char="•"/>
                      </a:pPr>
                      <a:r>
                        <a:rPr lang="en-US" sz="1200"/>
                        <a:t>External temperature is a strong driver of demand response​ - slightly more customers chose to opt in on warmer event days, but the average demand response is slightly higher on colder days.</a:t>
                      </a:r>
                    </a:p>
                    <a:p>
                      <a:pPr marL="171450" indent="-171450">
                        <a:buFont typeface="Arial" panose="020B0604020202020204" pitchFamily="34" charset="0"/>
                        <a:buChar char="•"/>
                      </a:pPr>
                      <a:r>
                        <a:rPr lang="en-US" sz="1200"/>
                        <a:t>Demand response was consistent across commercial arrangements, notice periods and event times​.</a:t>
                      </a:r>
                    </a:p>
                    <a:p>
                      <a:pPr marL="171450" indent="-171450">
                        <a:buFont typeface="Arial" panose="020B0604020202020204" pitchFamily="34" charset="0"/>
                        <a:buChar char="•"/>
                      </a:pPr>
                      <a:r>
                        <a:rPr lang="en-US" sz="1200"/>
                        <a:t>Automated control of heat pumps is not necessary for the delivery of flexibility.​</a:t>
                      </a:r>
                    </a:p>
                    <a:p>
                      <a:pPr marL="171450" indent="-171450">
                        <a:buFont typeface="Arial" panose="020B0604020202020204" pitchFamily="34" charset="0"/>
                        <a:buChar char="•"/>
                      </a:pPr>
                      <a:r>
                        <a:rPr lang="en-US" sz="1200"/>
                        <a:t>Minimal impact on thermal comfort was reported by EQUINOX participants​ with the majority of participants reporting no change or a slight change in comfort.</a:t>
                      </a:r>
                    </a:p>
                  </a:txBody>
                  <a:tcPr/>
                </a:tc>
                <a:extLst>
                  <a:ext uri="{0D108BD9-81ED-4DB2-BD59-A6C34878D82A}">
                    <a16:rowId xmlns:a16="http://schemas.microsoft.com/office/drawing/2014/main" val="1569062850"/>
                  </a:ext>
                </a:extLst>
              </a:tr>
            </a:tbl>
          </a:graphicData>
        </a:graphic>
      </p:graphicFrame>
      <p:graphicFrame>
        <p:nvGraphicFramePr>
          <p:cNvPr id="12" name="Content Placeholder 8">
            <a:extLst>
              <a:ext uri="{FF2B5EF4-FFF2-40B4-BE49-F238E27FC236}">
                <a16:creationId xmlns:a16="http://schemas.microsoft.com/office/drawing/2014/main" id="{CD034502-ED68-2492-785F-7F1FBE1F5240}"/>
              </a:ext>
            </a:extLst>
          </p:cNvPr>
          <p:cNvGraphicFramePr>
            <a:graphicFrameLocks/>
          </p:cNvGraphicFramePr>
          <p:nvPr>
            <p:extLst>
              <p:ext uri="{D42A27DB-BD31-4B8C-83A1-F6EECF244321}">
                <p14:modId xmlns:p14="http://schemas.microsoft.com/office/powerpoint/2010/main" val="4016848030"/>
              </p:ext>
            </p:extLst>
          </p:nvPr>
        </p:nvGraphicFramePr>
        <p:xfrm>
          <a:off x="6276626" y="3935484"/>
          <a:ext cx="5494460" cy="2377440"/>
        </p:xfrm>
        <a:graphic>
          <a:graphicData uri="http://schemas.openxmlformats.org/drawingml/2006/table">
            <a:tbl>
              <a:tblPr firstRow="1" bandRow="1">
                <a:tableStyleId>{F2DE63D5-997A-4646-A377-4702673A728D}</a:tableStyleId>
              </a:tblPr>
              <a:tblGrid>
                <a:gridCol w="5494460">
                  <a:extLst>
                    <a:ext uri="{9D8B030D-6E8A-4147-A177-3AD203B41FA5}">
                      <a16:colId xmlns:a16="http://schemas.microsoft.com/office/drawing/2014/main" val="1613101289"/>
                    </a:ext>
                  </a:extLst>
                </a:gridCol>
              </a:tblGrid>
              <a:tr h="275000">
                <a:tc>
                  <a:txBody>
                    <a:bodyPr/>
                    <a:lstStyle/>
                    <a:p>
                      <a:r>
                        <a:rPr lang="en-US" sz="1200"/>
                        <a:t>Learnings for Heatropolis</a:t>
                      </a:r>
                    </a:p>
                  </a:txBody>
                  <a:tcPr>
                    <a:solidFill>
                      <a:srgbClr val="9C1420"/>
                    </a:solidFill>
                  </a:tcPr>
                </a:tc>
                <a:extLst>
                  <a:ext uri="{0D108BD9-81ED-4DB2-BD59-A6C34878D82A}">
                    <a16:rowId xmlns:a16="http://schemas.microsoft.com/office/drawing/2014/main" val="1789174452"/>
                  </a:ext>
                </a:extLst>
              </a:tr>
              <a:tr h="210244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EQUINOX provides a good example of a project successfully recruiting customers to live trials testing different commercial arrangements and comfort lev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It showed that external temperature is a strong driver of demand response​, something which may therefore also be the case for heat net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Nearly all trial 2 participants controlled their heat pumps manually or remotely via an app, suggesting that automated control is not necessarily a requirement for active customer participation in flexi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accent2"/>
                          </a:solidFill>
                        </a:rPr>
                        <a:t>Check on updates and published results in next Horizon Scan.</a:t>
                      </a:r>
                      <a:endParaRPr lang="en-US" sz="1200"/>
                    </a:p>
                    <a:p>
                      <a:pPr marL="171450" indent="-171450">
                        <a:buFont typeface="Arial" panose="020B0604020202020204" pitchFamily="34" charset="0"/>
                        <a:buChar char="•"/>
                      </a:pPr>
                      <a:endParaRPr lang="en-US" sz="1200"/>
                    </a:p>
                  </a:txBody>
                  <a:tcPr/>
                </a:tc>
                <a:extLst>
                  <a:ext uri="{0D108BD9-81ED-4DB2-BD59-A6C34878D82A}">
                    <a16:rowId xmlns:a16="http://schemas.microsoft.com/office/drawing/2014/main" val="1569062850"/>
                  </a:ext>
                </a:extLst>
              </a:tr>
            </a:tbl>
          </a:graphicData>
        </a:graphic>
      </p:graphicFrame>
      <p:pic>
        <p:nvPicPr>
          <p:cNvPr id="14" name="Graphic 13" descr="Full battery with solid fill">
            <a:extLst>
              <a:ext uri="{FF2B5EF4-FFF2-40B4-BE49-F238E27FC236}">
                <a16:creationId xmlns:a16="http://schemas.microsoft.com/office/drawing/2014/main" id="{D089A1D6-C323-60EA-7062-BBE06DA671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0739" y="6491344"/>
            <a:ext cx="365760" cy="365760"/>
          </a:xfrm>
          <a:prstGeom prst="rect">
            <a:avLst/>
          </a:prstGeom>
        </p:spPr>
      </p:pic>
      <p:pic>
        <p:nvPicPr>
          <p:cNvPr id="15" name="Graphic 14" descr="Leaf with solid fill">
            <a:extLst>
              <a:ext uri="{FF2B5EF4-FFF2-40B4-BE49-F238E27FC236}">
                <a16:creationId xmlns:a16="http://schemas.microsoft.com/office/drawing/2014/main" id="{32AFF90B-DE08-A577-17F8-FFF3B445FF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05326" y="6487759"/>
            <a:ext cx="365760" cy="365760"/>
          </a:xfrm>
          <a:prstGeom prst="rect">
            <a:avLst/>
          </a:prstGeom>
        </p:spPr>
      </p:pic>
      <p:pic>
        <p:nvPicPr>
          <p:cNvPr id="16" name="Graphic 15" descr="Yoga with solid fill">
            <a:extLst>
              <a:ext uri="{FF2B5EF4-FFF2-40B4-BE49-F238E27FC236}">
                <a16:creationId xmlns:a16="http://schemas.microsoft.com/office/drawing/2014/main" id="{E333A842-E95C-663F-94EA-787C304FDB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30773" y="6492240"/>
            <a:ext cx="365760" cy="365760"/>
          </a:xfrm>
          <a:prstGeom prst="rect">
            <a:avLst/>
          </a:prstGeom>
        </p:spPr>
      </p:pic>
      <p:pic>
        <p:nvPicPr>
          <p:cNvPr id="2052" name="Picture 4" descr="Company Profile: National Grid - We Mean Business Coalition">
            <a:extLst>
              <a:ext uri="{FF2B5EF4-FFF2-40B4-BE49-F238E27FC236}">
                <a16:creationId xmlns:a16="http://schemas.microsoft.com/office/drawing/2014/main" id="{B6801AAC-FC8B-83A5-CA85-7273404853E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7660" t="33952" r="5339" b="36149"/>
          <a:stretch/>
        </p:blipFill>
        <p:spPr bwMode="auto">
          <a:xfrm>
            <a:off x="485197" y="3136303"/>
            <a:ext cx="1644073" cy="35313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7047628-F157-15CD-E7AC-D09C3DB2806C}"/>
              </a:ext>
            </a:extLst>
          </p:cNvPr>
          <p:cNvSpPr txBox="1"/>
          <p:nvPr/>
        </p:nvSpPr>
        <p:spPr>
          <a:xfrm>
            <a:off x="2179781" y="2927599"/>
            <a:ext cx="3777673" cy="646331"/>
          </a:xfrm>
          <a:prstGeom prst="rect">
            <a:avLst/>
          </a:prstGeom>
          <a:noFill/>
        </p:spPr>
        <p:txBody>
          <a:bodyPr wrap="square">
            <a:spAutoFit/>
          </a:bodyPr>
          <a:lstStyle>
            <a:defPPr>
              <a:defRPr lang="en-US"/>
            </a:defPPr>
            <a:lvl1pPr>
              <a:defRPr sz="1200"/>
            </a:lvl1pPr>
          </a:lstStyle>
          <a:p>
            <a:r>
              <a:rPr lang="en-GB"/>
              <a:t>SP Energy Networks (SPEN), Octopus Energy, </a:t>
            </a:r>
            <a:r>
              <a:rPr lang="en-GB" err="1"/>
              <a:t>PassivUK</a:t>
            </a:r>
            <a:r>
              <a:rPr lang="en-GB"/>
              <a:t>, Welsh Government, West Midlands Combined Authority, Sero and Guidehouse</a:t>
            </a:r>
          </a:p>
        </p:txBody>
      </p:sp>
      <p:sp>
        <p:nvSpPr>
          <p:cNvPr id="3" name="TextBox 2">
            <a:extLst>
              <a:ext uri="{FF2B5EF4-FFF2-40B4-BE49-F238E27FC236}">
                <a16:creationId xmlns:a16="http://schemas.microsoft.com/office/drawing/2014/main" id="{3D165116-02AA-F6DD-4F79-7A77204A7D34}"/>
              </a:ext>
            </a:extLst>
          </p:cNvPr>
          <p:cNvSpPr txBox="1"/>
          <p:nvPr/>
        </p:nvSpPr>
        <p:spPr>
          <a:xfrm>
            <a:off x="9290304" y="6534379"/>
            <a:ext cx="1261399" cy="276999"/>
          </a:xfrm>
          <a:prstGeom prst="rect">
            <a:avLst/>
          </a:prstGeom>
          <a:solidFill>
            <a:srgbClr val="9C1420"/>
          </a:solidFill>
        </p:spPr>
        <p:txBody>
          <a:bodyPr wrap="square" rtlCol="0">
            <a:spAutoFit/>
          </a:bodyPr>
          <a:lstStyle/>
          <a:p>
            <a:pPr algn="ctr"/>
            <a:r>
              <a:rPr lang="en-US" sz="1200" dirty="0">
                <a:solidFill>
                  <a:schemeClr val="bg1"/>
                </a:solidFill>
              </a:rPr>
              <a:t>Relevant themes</a:t>
            </a:r>
          </a:p>
        </p:txBody>
      </p:sp>
    </p:spTree>
    <p:extLst>
      <p:ext uri="{BB962C8B-B14F-4D97-AF65-F5344CB8AC3E}">
        <p14:creationId xmlns:p14="http://schemas.microsoft.com/office/powerpoint/2010/main" val="39075436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A796E-FA92-75BB-0670-6AB894D9738E}"/>
              </a:ext>
            </a:extLst>
          </p:cNvPr>
          <p:cNvSpPr txBox="1">
            <a:spLocks/>
          </p:cNvSpPr>
          <p:nvPr/>
        </p:nvSpPr>
        <p:spPr>
          <a:xfrm>
            <a:off x="370917" y="4071740"/>
            <a:ext cx="11388692" cy="551591"/>
          </a:xfrm>
          <a:prstGeom prst="rect">
            <a:avLst/>
          </a:prstGeom>
        </p:spPr>
        <p:txBody>
          <a:bodyPr vert="horz" anchor="t"/>
          <a:lstStyle>
            <a:lvl1pPr marL="0" marR="0" indent="0" algn="l" defTabSz="914400" rtl="0" eaLnBrk="1" fontAlgn="auto" latinLnBrk="0" hangingPunct="1">
              <a:lnSpc>
                <a:spcPct val="100000"/>
              </a:lnSpc>
              <a:spcBef>
                <a:spcPts val="0"/>
              </a:spcBef>
              <a:spcAft>
                <a:spcPts val="0"/>
              </a:spcAft>
              <a:buClrTx/>
              <a:buSzTx/>
              <a:buFontTx/>
              <a:buNone/>
              <a:tabLst/>
              <a:defRPr sz="4400" kern="1200">
                <a:solidFill>
                  <a:schemeClr val="tx1"/>
                </a:solidFill>
                <a:latin typeface="+mj-lt"/>
                <a:ea typeface="+mj-ea"/>
                <a:cs typeface="+mj-cs"/>
              </a:defRPr>
            </a:lvl1pPr>
          </a:lstStyle>
          <a:p>
            <a:r>
              <a:rPr lang="en-GB" sz="3200" b="1">
                <a:solidFill>
                  <a:schemeClr val="bg1"/>
                </a:solidFill>
                <a:latin typeface="Arial"/>
                <a:cs typeface="Arial"/>
              </a:rPr>
              <a:t>UK Policy &amp; Regulatory Landscape</a:t>
            </a:r>
          </a:p>
        </p:txBody>
      </p:sp>
    </p:spTree>
    <p:extLst>
      <p:ext uri="{BB962C8B-B14F-4D97-AF65-F5344CB8AC3E}">
        <p14:creationId xmlns:p14="http://schemas.microsoft.com/office/powerpoint/2010/main" val="3761061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07F846A-1966-E55D-9CB7-6CD8012F3409}"/>
              </a:ext>
            </a:extLst>
          </p:cNvPr>
          <p:cNvGraphicFramePr>
            <a:graphicFrameLocks noChangeAspect="1"/>
          </p:cNvGraphicFramePr>
          <p:nvPr>
            <p:custDataLst>
              <p:tags r:id="rId1"/>
            </p:custDataLst>
            <p:extLst>
              <p:ext uri="{D42A27DB-BD31-4B8C-83A1-F6EECF244321}">
                <p14:modId xmlns:p14="http://schemas.microsoft.com/office/powerpoint/2010/main" val="12599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6" name="think-cell data - do not delete" hidden="1">
                        <a:extLst>
                          <a:ext uri="{FF2B5EF4-FFF2-40B4-BE49-F238E27FC236}">
                            <a16:creationId xmlns:a16="http://schemas.microsoft.com/office/drawing/2014/main" id="{707F846A-1966-E55D-9CB7-6CD8012F3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40E5EB7-F2CB-AED0-004B-9B03964CAE8A}"/>
              </a:ext>
            </a:extLst>
          </p:cNvPr>
          <p:cNvSpPr>
            <a:spLocks noGrp="1"/>
          </p:cNvSpPr>
          <p:nvPr>
            <p:ph type="title"/>
          </p:nvPr>
        </p:nvSpPr>
        <p:spPr/>
        <p:txBody>
          <a:bodyPr vert="horz"/>
          <a:lstStyle/>
          <a:p>
            <a:r>
              <a:rPr lang="en-US"/>
              <a:t>Current Heat Network Policy &amp; Regulation</a:t>
            </a:r>
          </a:p>
        </p:txBody>
      </p:sp>
      <p:sp>
        <p:nvSpPr>
          <p:cNvPr id="5" name="Content Placeholder 4">
            <a:extLst>
              <a:ext uri="{FF2B5EF4-FFF2-40B4-BE49-F238E27FC236}">
                <a16:creationId xmlns:a16="http://schemas.microsoft.com/office/drawing/2014/main" id="{0A198457-EB0A-E86D-178D-CD34FF04C2D6}"/>
              </a:ext>
            </a:extLst>
          </p:cNvPr>
          <p:cNvSpPr>
            <a:spLocks noGrp="1"/>
          </p:cNvSpPr>
          <p:nvPr>
            <p:ph idx="1"/>
          </p:nvPr>
        </p:nvSpPr>
        <p:spPr>
          <a:xfrm>
            <a:off x="466959" y="1412868"/>
            <a:ext cx="5268823" cy="4351338"/>
          </a:xfrm>
        </p:spPr>
        <p:txBody>
          <a:bodyPr>
            <a:normAutofit/>
          </a:bodyPr>
          <a:lstStyle/>
          <a:p>
            <a:pPr marL="0" indent="0">
              <a:buNone/>
            </a:pPr>
            <a:r>
              <a:rPr lang="en-US" sz="1800" b="1">
                <a:solidFill>
                  <a:schemeClr val="accent2"/>
                </a:solidFill>
              </a:rPr>
              <a:t>Heat Networks (Metering and Billing) Regulations 2014</a:t>
            </a:r>
          </a:p>
          <a:p>
            <a:pPr marL="0" indent="0">
              <a:buNone/>
            </a:pPr>
            <a:r>
              <a:rPr lang="en-US" sz="1200"/>
              <a:t>The purpose of the Regulations is to drive energy efficiency and reduce carbon emissions from heating. This initially came into force in 2014, with further amendments in 2015 and 2020. </a:t>
            </a:r>
            <a:r>
              <a:rPr lang="en-US" sz="1200" b="1"/>
              <a:t>Part of the Regulations required all heat networks to submit notifications of the heat networks they operate, which led to the creation of the first database of UK heat networks</a:t>
            </a:r>
            <a:r>
              <a:rPr lang="en-US" sz="1200"/>
              <a:t>.</a:t>
            </a:r>
          </a:p>
          <a:p>
            <a:pPr marL="0" indent="0">
              <a:buNone/>
            </a:pPr>
            <a:r>
              <a:rPr lang="en-US" sz="1200"/>
              <a:t>The energy efficiency component is driven through the installation of metering devices and billing based on consumption, which aims to decrease the use of energy and result in associated carbon emission savings. Metering also supports fair and transparent billing for customers on heat networks. </a:t>
            </a:r>
          </a:p>
          <a:p>
            <a:pPr marL="0" indent="0">
              <a:buNone/>
            </a:pPr>
            <a:r>
              <a:rPr lang="en-US" sz="1200"/>
              <a:t>The amendments to the Regulations in 2020 introduced building classes that require some heat suppliers with unmetered networks to install metering devices in the buildings they serve.</a:t>
            </a:r>
          </a:p>
          <a:p>
            <a:pPr marL="0" indent="0">
              <a:buNone/>
            </a:pPr>
            <a:r>
              <a:rPr lang="en-US" sz="1200"/>
              <a:t>The Regulations are enforced by the Office for Product Safety and Standards (OPSS) which acts as the Secretary of State for the Department for Energy Security and Net Zero (DESNZ).</a:t>
            </a:r>
          </a:p>
        </p:txBody>
      </p:sp>
      <p:sp>
        <p:nvSpPr>
          <p:cNvPr id="9" name="Content Placeholder 4">
            <a:extLst>
              <a:ext uri="{FF2B5EF4-FFF2-40B4-BE49-F238E27FC236}">
                <a16:creationId xmlns:a16="http://schemas.microsoft.com/office/drawing/2014/main" id="{C18F0816-335F-9180-9147-CD4DA24B8D9A}"/>
              </a:ext>
            </a:extLst>
          </p:cNvPr>
          <p:cNvSpPr txBox="1">
            <a:spLocks/>
          </p:cNvSpPr>
          <p:nvPr/>
        </p:nvSpPr>
        <p:spPr>
          <a:xfrm>
            <a:off x="6456218" y="1412868"/>
            <a:ext cx="5268823"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accent2"/>
                </a:solidFill>
              </a:rPr>
              <a:t>The Energy Act 2023</a:t>
            </a:r>
            <a:endParaRPr lang="en-US" sz="1200" dirty="0"/>
          </a:p>
          <a:p>
            <a:pPr marL="0" indent="0">
              <a:buNone/>
            </a:pPr>
            <a:r>
              <a:rPr lang="en-US" sz="1200" dirty="0"/>
              <a:t>The purpose of this Bill is to make provision about energy production and security and the regulation of the energy market. It sets out ambitious plans to deliver a cleaner, more affordable, and more secure energy system. The Bill covers a wide range of energy topics, including heat networks.</a:t>
            </a:r>
          </a:p>
          <a:p>
            <a:pPr marL="0" indent="0">
              <a:buNone/>
            </a:pPr>
            <a:r>
              <a:rPr lang="en-US" sz="1200" dirty="0"/>
              <a:t>The key point for heat networks is that the Energy Act sets out plans for the regulation of heat networks. It will enable Ofgem to become the regulator for heat networks and give ministers powers to introduce consumer protection rules and emissions limits. </a:t>
            </a:r>
            <a:r>
              <a:rPr lang="en-US" sz="1200" b="1" dirty="0"/>
              <a:t>As the regulator, Ofgem will be able to investigate if prices appear unfair or too high</a:t>
            </a:r>
            <a:r>
              <a:rPr lang="en-US" sz="1200" dirty="0"/>
              <a:t>. It will also introduce a licensing regime allowing heat networks to obtain certain powers like the right to dig up roads.</a:t>
            </a:r>
          </a:p>
          <a:p>
            <a:pPr marL="0" indent="0">
              <a:buNone/>
            </a:pPr>
            <a:r>
              <a:rPr lang="en-US" sz="1200" dirty="0"/>
              <a:t>It also introduces minimum technical standards and decarbonisation requirements, aimed at tackling issues with early heat networks, some of which have been inefficient, built to poor standards, lose a lot of heat and suffer from unplanned interruptions. Additionally, it will enforce heat network zoning which is intended to help accelerate heat network deployment by requiring certain buildings to connect once a zone has been designated. </a:t>
            </a:r>
          </a:p>
          <a:p>
            <a:pPr marL="0" indent="0">
              <a:buNone/>
            </a:pPr>
            <a:r>
              <a:rPr lang="en-US" sz="1200" dirty="0"/>
              <a:t>While this Act was passed in October 2023, its impacts have yet to be fully experienced by heat networks as it has not been fully implemented. Preparations are ongoing, including several consultations which are detailed in slide 39. </a:t>
            </a:r>
          </a:p>
        </p:txBody>
      </p:sp>
    </p:spTree>
    <p:extLst>
      <p:ext uri="{BB962C8B-B14F-4D97-AF65-F5344CB8AC3E}">
        <p14:creationId xmlns:p14="http://schemas.microsoft.com/office/powerpoint/2010/main" val="5907874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CB77F9-63A2-45DC-3D2D-4E78C4CEEC36}"/>
              </a:ext>
            </a:extLst>
          </p:cNvPr>
          <p:cNvGraphicFramePr>
            <a:graphicFrameLocks noChangeAspect="1"/>
          </p:cNvGraphicFramePr>
          <p:nvPr>
            <p:custDataLst>
              <p:tags r:id="rId1"/>
            </p:custDataLst>
            <p:extLst>
              <p:ext uri="{D42A27DB-BD31-4B8C-83A1-F6EECF244321}">
                <p14:modId xmlns:p14="http://schemas.microsoft.com/office/powerpoint/2010/main" val="219357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4" name="think-cell data - do not delete" hidden="1">
                        <a:extLst>
                          <a:ext uri="{FF2B5EF4-FFF2-40B4-BE49-F238E27FC236}">
                            <a16:creationId xmlns:a16="http://schemas.microsoft.com/office/drawing/2014/main" id="{A2CB77F9-63A2-45DC-3D2D-4E78C4CEEC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D7052-FF95-70E3-598E-94E7C174C38C}"/>
              </a:ext>
            </a:extLst>
          </p:cNvPr>
          <p:cNvSpPr>
            <a:spLocks noGrp="1"/>
          </p:cNvSpPr>
          <p:nvPr>
            <p:ph type="title"/>
          </p:nvPr>
        </p:nvSpPr>
        <p:spPr/>
        <p:txBody>
          <a:bodyPr vert="horz"/>
          <a:lstStyle/>
          <a:p>
            <a:r>
              <a:rPr lang="en-US"/>
              <a:t>Upcoming Heat Network Policy &amp; Regulation</a:t>
            </a:r>
          </a:p>
        </p:txBody>
      </p:sp>
      <p:sp>
        <p:nvSpPr>
          <p:cNvPr id="3" name="Content Placeholder 2">
            <a:extLst>
              <a:ext uri="{FF2B5EF4-FFF2-40B4-BE49-F238E27FC236}">
                <a16:creationId xmlns:a16="http://schemas.microsoft.com/office/drawing/2014/main" id="{4E495BEA-208E-B8D4-C8B8-E0C25A61E784}"/>
              </a:ext>
            </a:extLst>
          </p:cNvPr>
          <p:cNvSpPr>
            <a:spLocks noGrp="1"/>
          </p:cNvSpPr>
          <p:nvPr>
            <p:ph idx="1"/>
          </p:nvPr>
        </p:nvSpPr>
        <p:spPr>
          <a:xfrm>
            <a:off x="466958" y="1412867"/>
            <a:ext cx="5266944" cy="5135715"/>
          </a:xfrm>
        </p:spPr>
        <p:txBody>
          <a:bodyPr>
            <a:normAutofit lnSpcReduction="10000"/>
          </a:bodyPr>
          <a:lstStyle/>
          <a:p>
            <a:pPr marL="0" indent="0">
              <a:buNone/>
            </a:pPr>
            <a:r>
              <a:rPr lang="en-US" sz="1800" b="1">
                <a:solidFill>
                  <a:schemeClr val="accent2"/>
                </a:solidFill>
              </a:rPr>
              <a:t>Ofgem Regulation</a:t>
            </a:r>
          </a:p>
          <a:p>
            <a:pPr marL="0" indent="0">
              <a:buNone/>
            </a:pPr>
            <a:r>
              <a:rPr lang="en-US" sz="1200" b="1"/>
              <a:t>Ofgem is expected to fully begin regulating heat networks in Great Britain in 2026. </a:t>
            </a:r>
            <a:r>
              <a:rPr lang="en-US" sz="1200"/>
              <a:t>Their regulations will focus on customer service, reliability of supply, transparent energy bills and fair pricing.</a:t>
            </a:r>
          </a:p>
          <a:p>
            <a:pPr marL="0" indent="0">
              <a:buNone/>
            </a:pPr>
            <a:r>
              <a:rPr lang="en-US" sz="1200"/>
              <a:t>Some aspects will come into play earlier, such as the launch of consumer advocacy and advice service in April 2025. This will give customers access to free, impartial advice services, as well as the ability to bring complaints to the Energy Ombudsman.</a:t>
            </a:r>
            <a:endParaRPr lang="en-US" sz="1200" b="1">
              <a:solidFill>
                <a:schemeClr val="accent2"/>
              </a:solidFill>
            </a:endParaRPr>
          </a:p>
          <a:p>
            <a:pPr marL="0" indent="0">
              <a:buNone/>
            </a:pPr>
            <a:r>
              <a:rPr lang="en-US" sz="1800" b="1">
                <a:solidFill>
                  <a:schemeClr val="accent2"/>
                </a:solidFill>
              </a:rPr>
              <a:t>Heat Network Technical Assurance Scheme (HNTAS)</a:t>
            </a:r>
          </a:p>
          <a:p>
            <a:pPr marL="0" indent="0">
              <a:buNone/>
            </a:pPr>
            <a:r>
              <a:rPr lang="en-US" sz="1200"/>
              <a:t>The HNTAS will set out the necessary governance, structures, procedures and standards required to ensure a minimum level of performance and reliability of heat networks. The HNTAS project began in 2022 with DESNZ and its technical partner, </a:t>
            </a:r>
            <a:r>
              <a:rPr lang="en-US" sz="1200" err="1"/>
              <a:t>Fairheat</a:t>
            </a:r>
            <a:r>
              <a:rPr lang="en-US" sz="1200"/>
              <a:t>, developing a technical standards Code. A scheme of assessment and certification has also been developed to ensure heat network compliance with the technical requirements can be demonstrated. </a:t>
            </a:r>
            <a:r>
              <a:rPr lang="en-US" sz="1200" b="1"/>
              <a:t>Together, these requirements and assurance processes form the Heat Network Technical Assurance Scheme (HNTAS).</a:t>
            </a:r>
          </a:p>
          <a:p>
            <a:pPr marL="0" indent="0">
              <a:buNone/>
            </a:pPr>
            <a:r>
              <a:rPr lang="en-US" sz="1200"/>
              <a:t>The objectives of HNTAS include good consumer outcomes, lower cost of heat, enhanced reliability and service levels, and lower carbon emissions. Core principles of HNTAS are that it will be outcomes orientated, preventative, proportionate, deliverable, adaptable and enforceable.</a:t>
            </a:r>
          </a:p>
          <a:p>
            <a:pPr marL="0" indent="0">
              <a:buNone/>
            </a:pPr>
            <a:r>
              <a:rPr lang="en-US" sz="1200"/>
              <a:t>New networks will need to pass assessment before construction can begin. Existing networks will have a significant transition period to get the right metering in place, to be able to prove performance. Final performance thresholds will be set at a more permissive level for existing networks and these networks will be given time to reach these. </a:t>
            </a:r>
            <a:r>
              <a:rPr lang="en-US" sz="1200" b="1"/>
              <a:t>HNTAS is due to launch in 2025.</a:t>
            </a:r>
          </a:p>
        </p:txBody>
      </p:sp>
      <p:sp>
        <p:nvSpPr>
          <p:cNvPr id="8" name="Content Placeholder 2">
            <a:extLst>
              <a:ext uri="{FF2B5EF4-FFF2-40B4-BE49-F238E27FC236}">
                <a16:creationId xmlns:a16="http://schemas.microsoft.com/office/drawing/2014/main" id="{BD3CD362-A856-21CE-CC9C-A029E9700E2A}"/>
              </a:ext>
            </a:extLst>
          </p:cNvPr>
          <p:cNvSpPr txBox="1">
            <a:spLocks/>
          </p:cNvSpPr>
          <p:nvPr/>
        </p:nvSpPr>
        <p:spPr>
          <a:xfrm>
            <a:off x="6458098" y="1412868"/>
            <a:ext cx="526694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2"/>
                </a:solidFill>
              </a:rPr>
              <a:t>Heat Network Zoning</a:t>
            </a:r>
          </a:p>
          <a:p>
            <a:pPr marL="0" indent="0">
              <a:buNone/>
            </a:pPr>
            <a:r>
              <a:rPr lang="en-US" sz="1200"/>
              <a:t>Heat network zoning will identify zones where heat networks should be the lowest cost solution for decarbonising heat. </a:t>
            </a:r>
            <a:r>
              <a:rPr lang="en-US" sz="1200" b="1"/>
              <a:t>Specific buildings within those zones will be mandated to connect to a heat network within a prescribed timeframe, which will encourage greater heat network growth and allow economies of scale and critical mass to be realised.</a:t>
            </a:r>
          </a:p>
          <a:p>
            <a:pPr marL="0" indent="0">
              <a:buNone/>
            </a:pPr>
            <a:r>
              <a:rPr lang="en-US" sz="1200"/>
              <a:t>Buildings which will be mandated to connect could include new buildings, large public sector buildings, large non-domestic buildings, and buildings that are already communally heated. There will be exemptions to this, such as where it would not be cost-effective to connect to a heat network or where a better low carbon solution exist. </a:t>
            </a:r>
          </a:p>
          <a:p>
            <a:pPr marL="0" indent="0">
              <a:buNone/>
            </a:pPr>
            <a:r>
              <a:rPr lang="en-US" sz="1200"/>
              <a:t>The methodology to identify potential heat network zones in a consistent manner in towns and cities across the country is still being developed. A new Heat Network Zoning Authority will oversee the implementation of heat network zoning and set national standards, while local Zone Coordinators will be responsible for designating heat networking zones and enforcing requirements.</a:t>
            </a:r>
          </a:p>
        </p:txBody>
      </p:sp>
    </p:spTree>
    <p:extLst>
      <p:ext uri="{BB962C8B-B14F-4D97-AF65-F5344CB8AC3E}">
        <p14:creationId xmlns:p14="http://schemas.microsoft.com/office/powerpoint/2010/main" val="495083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CB77F9-63A2-45DC-3D2D-4E78C4CEEC36}"/>
              </a:ext>
            </a:extLst>
          </p:cNvPr>
          <p:cNvGraphicFramePr>
            <a:graphicFrameLocks noChangeAspect="1"/>
          </p:cNvGraphicFramePr>
          <p:nvPr>
            <p:custDataLst>
              <p:tags r:id="rId1"/>
            </p:custDataLst>
            <p:extLst>
              <p:ext uri="{D42A27DB-BD31-4B8C-83A1-F6EECF244321}">
                <p14:modId xmlns:p14="http://schemas.microsoft.com/office/powerpoint/2010/main" val="3188457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4" name="think-cell data - do not delete" hidden="1">
                        <a:extLst>
                          <a:ext uri="{FF2B5EF4-FFF2-40B4-BE49-F238E27FC236}">
                            <a16:creationId xmlns:a16="http://schemas.microsoft.com/office/drawing/2014/main" id="{A2CB77F9-63A2-45DC-3D2D-4E78C4CEEC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D7052-FF95-70E3-598E-94E7C174C38C}"/>
              </a:ext>
            </a:extLst>
          </p:cNvPr>
          <p:cNvSpPr>
            <a:spLocks noGrp="1"/>
          </p:cNvSpPr>
          <p:nvPr>
            <p:ph type="title"/>
          </p:nvPr>
        </p:nvSpPr>
        <p:spPr/>
        <p:txBody>
          <a:bodyPr vert="horz"/>
          <a:lstStyle/>
          <a:p>
            <a:r>
              <a:rPr lang="en-US"/>
              <a:t>Heat Network Consultations</a:t>
            </a:r>
          </a:p>
        </p:txBody>
      </p:sp>
      <p:graphicFrame>
        <p:nvGraphicFramePr>
          <p:cNvPr id="6" name="Content Placeholder 7">
            <a:extLst>
              <a:ext uri="{FF2B5EF4-FFF2-40B4-BE49-F238E27FC236}">
                <a16:creationId xmlns:a16="http://schemas.microsoft.com/office/drawing/2014/main" id="{0FF75245-1640-7546-FE0D-22327DFF0D76}"/>
              </a:ext>
            </a:extLst>
          </p:cNvPr>
          <p:cNvGraphicFramePr>
            <a:graphicFrameLocks/>
          </p:cNvGraphicFramePr>
          <p:nvPr>
            <p:extLst>
              <p:ext uri="{D42A27DB-BD31-4B8C-83A1-F6EECF244321}">
                <p14:modId xmlns:p14="http://schemas.microsoft.com/office/powerpoint/2010/main" val="1441939543"/>
              </p:ext>
            </p:extLst>
          </p:nvPr>
        </p:nvGraphicFramePr>
        <p:xfrm>
          <a:off x="466959" y="1952401"/>
          <a:ext cx="11304127" cy="4668520"/>
        </p:xfrm>
        <a:graphic>
          <a:graphicData uri="http://schemas.openxmlformats.org/drawingml/2006/table">
            <a:tbl>
              <a:tblPr firstRow="1" bandRow="1">
                <a:tableStyleId>{21E4AEA4-8DFA-4A89-87EB-49C32662AFE0}</a:tableStyleId>
              </a:tblPr>
              <a:tblGrid>
                <a:gridCol w="2654933">
                  <a:extLst>
                    <a:ext uri="{9D8B030D-6E8A-4147-A177-3AD203B41FA5}">
                      <a16:colId xmlns:a16="http://schemas.microsoft.com/office/drawing/2014/main" val="944755374"/>
                    </a:ext>
                  </a:extLst>
                </a:gridCol>
                <a:gridCol w="6625138">
                  <a:extLst>
                    <a:ext uri="{9D8B030D-6E8A-4147-A177-3AD203B41FA5}">
                      <a16:colId xmlns:a16="http://schemas.microsoft.com/office/drawing/2014/main" val="1428416021"/>
                    </a:ext>
                  </a:extLst>
                </a:gridCol>
                <a:gridCol w="2024056">
                  <a:extLst>
                    <a:ext uri="{9D8B030D-6E8A-4147-A177-3AD203B41FA5}">
                      <a16:colId xmlns:a16="http://schemas.microsoft.com/office/drawing/2014/main" val="291516250"/>
                    </a:ext>
                  </a:extLst>
                </a:gridCol>
              </a:tblGrid>
              <a:tr h="370840">
                <a:tc>
                  <a:txBody>
                    <a:bodyPr/>
                    <a:lstStyle/>
                    <a:p>
                      <a:r>
                        <a:rPr lang="en-US" sz="1600"/>
                        <a:t>Consultation</a:t>
                      </a:r>
                    </a:p>
                  </a:txBody>
                  <a:tcPr/>
                </a:tc>
                <a:tc>
                  <a:txBody>
                    <a:bodyPr/>
                    <a:lstStyle/>
                    <a:p>
                      <a:r>
                        <a:rPr lang="en-US" sz="1600"/>
                        <a:t>Description</a:t>
                      </a:r>
                    </a:p>
                  </a:txBody>
                  <a:tcPr/>
                </a:tc>
                <a:tc>
                  <a:txBody>
                    <a:bodyPr/>
                    <a:lstStyle/>
                    <a:p>
                      <a:r>
                        <a:rPr lang="en-US" sz="1600"/>
                        <a:t>Dates</a:t>
                      </a:r>
                    </a:p>
                  </a:txBody>
                  <a:tcPr/>
                </a:tc>
                <a:extLst>
                  <a:ext uri="{0D108BD9-81ED-4DB2-BD59-A6C34878D82A}">
                    <a16:rowId xmlns:a16="http://schemas.microsoft.com/office/drawing/2014/main" val="1805920052"/>
                  </a:ext>
                </a:extLst>
              </a:tr>
              <a:tr h="370840">
                <a:tc>
                  <a:txBody>
                    <a:bodyPr/>
                    <a:lstStyle/>
                    <a:p>
                      <a:r>
                        <a:rPr lang="en-US" sz="1200"/>
                        <a:t>Proposals for heat network zoning, </a:t>
                      </a:r>
                      <a:r>
                        <a:rPr lang="en-US" sz="1200">
                          <a:hlinkClick r:id="rId5"/>
                        </a:rPr>
                        <a:t>link</a:t>
                      </a:r>
                      <a:endParaRPr lang="en-US" sz="1200"/>
                    </a:p>
                  </a:txBody>
                  <a:tcPr/>
                </a:tc>
                <a:tc>
                  <a:txBody>
                    <a:bodyPr/>
                    <a:lstStyle/>
                    <a:p>
                      <a:r>
                        <a:rPr lang="en-US" sz="1200"/>
                        <a:t>This consultation sought views on the role of central and local government, zone identification, requirements in zones (consumer protections, emissions, requirements to connect) and zone delivery (selecting developers and ensuring construction). </a:t>
                      </a:r>
                    </a:p>
                  </a:txBody>
                  <a:tcPr/>
                </a:tc>
                <a:tc>
                  <a:txBody>
                    <a:bodyPr/>
                    <a:lstStyle/>
                    <a:p>
                      <a:r>
                        <a:rPr lang="en-US" sz="1200"/>
                        <a:t>December 2023 – February 2024</a:t>
                      </a:r>
                    </a:p>
                  </a:txBody>
                  <a:tcPr/>
                </a:tc>
                <a:extLst>
                  <a:ext uri="{0D108BD9-81ED-4DB2-BD59-A6C34878D82A}">
                    <a16:rowId xmlns:a16="http://schemas.microsoft.com/office/drawing/2014/main" val="687347916"/>
                  </a:ext>
                </a:extLst>
              </a:tr>
              <a:tr h="370840">
                <a:tc>
                  <a:txBody>
                    <a:bodyPr/>
                    <a:lstStyle/>
                    <a:p>
                      <a:r>
                        <a:rPr lang="en-US" sz="1200"/>
                        <a:t>Heat networks regulation: consumer protection, </a:t>
                      </a:r>
                      <a:r>
                        <a:rPr lang="en-US" sz="1200">
                          <a:hlinkClick r:id="rId6"/>
                        </a:rPr>
                        <a:t>link</a:t>
                      </a:r>
                      <a:endParaRPr lang="en-US" sz="1200"/>
                    </a:p>
                  </a:txBody>
                  <a:tcPr/>
                </a:tc>
                <a:tc>
                  <a:txBody>
                    <a:bodyPr/>
                    <a:lstStyle/>
                    <a:p>
                      <a:r>
                        <a:rPr lang="en-US" sz="1200"/>
                        <a:t>This consultation sought views on consumer protection requirements around pricing, quality of service, transparency of information, consumers in vulnerable circumstance, the scope of the rules and how they should be phased in.</a:t>
                      </a:r>
                    </a:p>
                  </a:txBody>
                  <a:tcPr/>
                </a:tc>
                <a:tc>
                  <a:txBody>
                    <a:bodyPr/>
                    <a:lstStyle/>
                    <a:p>
                      <a:r>
                        <a:rPr lang="en-US" sz="1200"/>
                        <a:t>August 2023 – October 2023</a:t>
                      </a:r>
                    </a:p>
                    <a:p>
                      <a:endParaRPr lang="en-US" sz="1200"/>
                    </a:p>
                  </a:txBody>
                  <a:tcPr/>
                </a:tc>
                <a:extLst>
                  <a:ext uri="{0D108BD9-81ED-4DB2-BD59-A6C34878D82A}">
                    <a16:rowId xmlns:a16="http://schemas.microsoft.com/office/drawing/2014/main" val="1818612230"/>
                  </a:ext>
                </a:extLst>
              </a:tr>
              <a:tr h="370840">
                <a:tc>
                  <a:txBody>
                    <a:bodyPr/>
                    <a:lstStyle/>
                    <a:p>
                      <a:r>
                        <a:rPr lang="en-US" sz="1200"/>
                        <a:t>Heat networks regulation: implementing consumer protections, </a:t>
                      </a:r>
                      <a:r>
                        <a:rPr lang="en-US" sz="1200">
                          <a:hlinkClick r:id="rId7"/>
                        </a:rPr>
                        <a:t>link</a:t>
                      </a:r>
                      <a:endParaRPr lang="en-US" sz="1200"/>
                    </a:p>
                  </a:txBody>
                  <a:tcPr/>
                </a:tc>
                <a:tc>
                  <a:txBody>
                    <a:bodyPr/>
                    <a:lstStyle/>
                    <a:p>
                      <a:r>
                        <a:rPr lang="en-US" sz="1200"/>
                        <a:t>This was the second part to the above consultation and focused on the scope of regulation, how protections will work for non-domestic and small-medium size enterprise consumers, overarching standards of conduct, obligations for fair pricing, protecting vulnerable consumers, step-in proposals and approaches to segmentation. It also sought views on the first draft heat network authorisation conditions and an Impact Assessment setting out the benefits and costs of introducing the consumer protections.</a:t>
                      </a:r>
                    </a:p>
                  </a:txBody>
                  <a:tcPr/>
                </a:tc>
                <a:tc>
                  <a:txBody>
                    <a:bodyPr/>
                    <a:lstStyle/>
                    <a:p>
                      <a:r>
                        <a:rPr lang="en-US" sz="1200"/>
                        <a:t>November 2024 – January 2025</a:t>
                      </a:r>
                    </a:p>
                    <a:p>
                      <a:endParaRPr lang="en-US" sz="1200"/>
                    </a:p>
                    <a:p>
                      <a:r>
                        <a:rPr lang="en-US" sz="1200"/>
                        <a:t>Government response not yet published.</a:t>
                      </a:r>
                    </a:p>
                  </a:txBody>
                  <a:tcPr/>
                </a:tc>
                <a:extLst>
                  <a:ext uri="{0D108BD9-81ED-4DB2-BD59-A6C34878D82A}">
                    <a16:rowId xmlns:a16="http://schemas.microsoft.com/office/drawing/2014/main" val="3448875645"/>
                  </a:ext>
                </a:extLst>
              </a:tr>
              <a:tr h="370840">
                <a:tc>
                  <a:txBody>
                    <a:bodyPr/>
                    <a:lstStyle/>
                    <a:p>
                      <a:r>
                        <a:rPr lang="en-US" sz="1200"/>
                        <a:t>Heat networks regulation: authorization and regulatory oversight, </a:t>
                      </a:r>
                      <a:r>
                        <a:rPr lang="en-US" sz="1200">
                          <a:hlinkClick r:id="rId8"/>
                        </a:rPr>
                        <a:t>link</a:t>
                      </a:r>
                      <a:endParaRPr lang="en-US" sz="1200"/>
                    </a:p>
                  </a:txBody>
                  <a:tcPr/>
                </a:tc>
                <a:tc>
                  <a:txBody>
                    <a:bodyPr/>
                    <a:lstStyle/>
                    <a:p>
                      <a:r>
                        <a:rPr lang="en-US" sz="1200"/>
                        <a:t>Run alongside the above consultation, this sought views on Ofgem’s proposals for the monitoring, audit, compliance and enforcement of heat networks. The consultation describes Ofgem’s proposals for implementing the Heat Networks (Market Framework) Regulations 2024, allowing industry to prepare for the implementation of the framework from April 2025, and regulatory rules from January 2026. </a:t>
                      </a:r>
                    </a:p>
                  </a:txBody>
                  <a:tcPr/>
                </a:tc>
                <a:tc>
                  <a:txBody>
                    <a:bodyPr/>
                    <a:lstStyle/>
                    <a:p>
                      <a:r>
                        <a:rPr lang="en-US" sz="1200"/>
                        <a:t>November 2024 – January 2025</a:t>
                      </a:r>
                    </a:p>
                    <a:p>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fgem response not yet published.</a:t>
                      </a:r>
                    </a:p>
                  </a:txBody>
                  <a:tcPr/>
                </a:tc>
                <a:extLst>
                  <a:ext uri="{0D108BD9-81ED-4DB2-BD59-A6C34878D82A}">
                    <a16:rowId xmlns:a16="http://schemas.microsoft.com/office/drawing/2014/main" val="3697568327"/>
                  </a:ext>
                </a:extLst>
              </a:tr>
              <a:tr h="370840">
                <a:tc>
                  <a:txBody>
                    <a:bodyPr/>
                    <a:lstStyle/>
                    <a:p>
                      <a:r>
                        <a:rPr lang="en-US" sz="1200"/>
                        <a:t>HNTAS consultation, </a:t>
                      </a:r>
                      <a:r>
                        <a:rPr lang="en-US" sz="1200">
                          <a:hlinkClick r:id="rId9"/>
                        </a:rPr>
                        <a:t>link</a:t>
                      </a:r>
                      <a:endParaRPr lang="en-US" sz="1200"/>
                    </a:p>
                  </a:txBody>
                  <a:tcPr/>
                </a:tc>
                <a:tc>
                  <a:txBody>
                    <a:bodyPr/>
                    <a:lstStyle/>
                    <a:p>
                      <a:r>
                        <a:rPr lang="en-US" sz="1200"/>
                        <a:t>A further heat networks technical standards consultation is planned for 2025, responses to which will need to be taken into consideration for the implementation of the HNTAS scheme and the proposed requirements of the HNTAS Scheme Operator. It will seek views on technical standards for heat networks, including monitoring and compliance for adherence to the standards.</a:t>
                      </a:r>
                    </a:p>
                  </a:txBody>
                  <a:tcPr/>
                </a:tc>
                <a:tc>
                  <a:txBody>
                    <a:bodyPr/>
                    <a:lstStyle/>
                    <a:p>
                      <a:r>
                        <a:rPr lang="en-US" sz="1200"/>
                        <a:t>Expected in 2025</a:t>
                      </a:r>
                    </a:p>
                  </a:txBody>
                  <a:tcPr/>
                </a:tc>
                <a:extLst>
                  <a:ext uri="{0D108BD9-81ED-4DB2-BD59-A6C34878D82A}">
                    <a16:rowId xmlns:a16="http://schemas.microsoft.com/office/drawing/2014/main" val="43670838"/>
                  </a:ext>
                </a:extLst>
              </a:tr>
            </a:tbl>
          </a:graphicData>
        </a:graphic>
      </p:graphicFrame>
      <p:sp>
        <p:nvSpPr>
          <p:cNvPr id="9" name="TextBox 8">
            <a:extLst>
              <a:ext uri="{FF2B5EF4-FFF2-40B4-BE49-F238E27FC236}">
                <a16:creationId xmlns:a16="http://schemas.microsoft.com/office/drawing/2014/main" id="{0DED90F5-BF54-898B-D478-195B8A951575}"/>
              </a:ext>
            </a:extLst>
          </p:cNvPr>
          <p:cNvSpPr txBox="1"/>
          <p:nvPr/>
        </p:nvSpPr>
        <p:spPr>
          <a:xfrm>
            <a:off x="466959" y="1063199"/>
            <a:ext cx="11304127" cy="646331"/>
          </a:xfrm>
          <a:prstGeom prst="rect">
            <a:avLst/>
          </a:prstGeom>
          <a:noFill/>
        </p:spPr>
        <p:txBody>
          <a:bodyPr wrap="square" rtlCol="0">
            <a:spAutoFit/>
          </a:bodyPr>
          <a:lstStyle/>
          <a:p>
            <a:r>
              <a:rPr lang="en-US"/>
              <a:t>Multiple consultations have helped to shape the upcoming Heat Network Zoning policy and Ofgem regulation of heat networks, with more to come later this year on the implementation of the HNTAS </a:t>
            </a:r>
          </a:p>
        </p:txBody>
      </p:sp>
    </p:spTree>
    <p:extLst>
      <p:ext uri="{BB962C8B-B14F-4D97-AF65-F5344CB8AC3E}">
        <p14:creationId xmlns:p14="http://schemas.microsoft.com/office/powerpoint/2010/main" val="42687345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D5D02D-1F3B-7605-6F1E-650DACBCD09B}"/>
              </a:ext>
            </a:extLst>
          </p:cNvPr>
          <p:cNvGraphicFramePr>
            <a:graphicFrameLocks noChangeAspect="1"/>
          </p:cNvGraphicFramePr>
          <p:nvPr>
            <p:custDataLst>
              <p:tags r:id="rId1"/>
            </p:custDataLst>
            <p:extLst>
              <p:ext uri="{D42A27DB-BD31-4B8C-83A1-F6EECF244321}">
                <p14:modId xmlns:p14="http://schemas.microsoft.com/office/powerpoint/2010/main" val="1741915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59D5D02D-1F3B-7605-6F1E-650DACBCD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336478-23DB-362C-5BEF-A3D2DE88EB87}"/>
              </a:ext>
            </a:extLst>
          </p:cNvPr>
          <p:cNvSpPr>
            <a:spLocks noGrp="1"/>
          </p:cNvSpPr>
          <p:nvPr>
            <p:ph type="title"/>
          </p:nvPr>
        </p:nvSpPr>
        <p:spPr/>
        <p:txBody>
          <a:bodyPr vert="horz"/>
          <a:lstStyle/>
          <a:p>
            <a:r>
              <a:rPr lang="en-US"/>
              <a:t>Heat Networks Government Funding &amp; Support</a:t>
            </a:r>
          </a:p>
        </p:txBody>
      </p:sp>
      <p:graphicFrame>
        <p:nvGraphicFramePr>
          <p:cNvPr id="8" name="Content Placeholder 7">
            <a:extLst>
              <a:ext uri="{FF2B5EF4-FFF2-40B4-BE49-F238E27FC236}">
                <a16:creationId xmlns:a16="http://schemas.microsoft.com/office/drawing/2014/main" id="{7DE1326B-5692-3308-18B7-0D82F3D5A40C}"/>
              </a:ext>
            </a:extLst>
          </p:cNvPr>
          <p:cNvGraphicFramePr>
            <a:graphicFrameLocks noGrp="1"/>
          </p:cNvGraphicFramePr>
          <p:nvPr>
            <p:ph idx="1"/>
            <p:extLst>
              <p:ext uri="{D42A27DB-BD31-4B8C-83A1-F6EECF244321}">
                <p14:modId xmlns:p14="http://schemas.microsoft.com/office/powerpoint/2010/main" val="1732814280"/>
              </p:ext>
            </p:extLst>
          </p:nvPr>
        </p:nvGraphicFramePr>
        <p:xfrm>
          <a:off x="466725" y="1773087"/>
          <a:ext cx="11304588" cy="4485640"/>
        </p:xfrm>
        <a:graphic>
          <a:graphicData uri="http://schemas.openxmlformats.org/drawingml/2006/table">
            <a:tbl>
              <a:tblPr firstRow="1" bandRow="1">
                <a:tableStyleId>{21E4AEA4-8DFA-4A89-87EB-49C32662AFE0}</a:tableStyleId>
              </a:tblPr>
              <a:tblGrid>
                <a:gridCol w="2826147">
                  <a:extLst>
                    <a:ext uri="{9D8B030D-6E8A-4147-A177-3AD203B41FA5}">
                      <a16:colId xmlns:a16="http://schemas.microsoft.com/office/drawing/2014/main" val="944755374"/>
                    </a:ext>
                  </a:extLst>
                </a:gridCol>
                <a:gridCol w="5823696">
                  <a:extLst>
                    <a:ext uri="{9D8B030D-6E8A-4147-A177-3AD203B41FA5}">
                      <a16:colId xmlns:a16="http://schemas.microsoft.com/office/drawing/2014/main" val="1428416021"/>
                    </a:ext>
                  </a:extLst>
                </a:gridCol>
                <a:gridCol w="1243584">
                  <a:extLst>
                    <a:ext uri="{9D8B030D-6E8A-4147-A177-3AD203B41FA5}">
                      <a16:colId xmlns:a16="http://schemas.microsoft.com/office/drawing/2014/main" val="1050430551"/>
                    </a:ext>
                  </a:extLst>
                </a:gridCol>
                <a:gridCol w="1411161">
                  <a:extLst>
                    <a:ext uri="{9D8B030D-6E8A-4147-A177-3AD203B41FA5}">
                      <a16:colId xmlns:a16="http://schemas.microsoft.com/office/drawing/2014/main" val="291516250"/>
                    </a:ext>
                  </a:extLst>
                </a:gridCol>
              </a:tblGrid>
              <a:tr h="370840">
                <a:tc>
                  <a:txBody>
                    <a:bodyPr/>
                    <a:lstStyle/>
                    <a:p>
                      <a:r>
                        <a:rPr lang="en-US" sz="1600"/>
                        <a:t>Scheme</a:t>
                      </a:r>
                    </a:p>
                  </a:txBody>
                  <a:tcPr/>
                </a:tc>
                <a:tc>
                  <a:txBody>
                    <a:bodyPr/>
                    <a:lstStyle/>
                    <a:p>
                      <a:r>
                        <a:rPr lang="en-US" sz="1600"/>
                        <a:t>Description</a:t>
                      </a:r>
                    </a:p>
                  </a:txBody>
                  <a:tcPr/>
                </a:tc>
                <a:tc>
                  <a:txBody>
                    <a:bodyPr/>
                    <a:lstStyle/>
                    <a:p>
                      <a:r>
                        <a:rPr lang="en-US" sz="1600"/>
                        <a:t>Value</a:t>
                      </a:r>
                    </a:p>
                  </a:txBody>
                  <a:tcPr/>
                </a:tc>
                <a:tc>
                  <a:txBody>
                    <a:bodyPr/>
                    <a:lstStyle/>
                    <a:p>
                      <a:r>
                        <a:rPr lang="en-US" sz="1600"/>
                        <a:t>Dates</a:t>
                      </a:r>
                    </a:p>
                  </a:txBody>
                  <a:tcPr/>
                </a:tc>
                <a:extLst>
                  <a:ext uri="{0D108BD9-81ED-4DB2-BD59-A6C34878D82A}">
                    <a16:rowId xmlns:a16="http://schemas.microsoft.com/office/drawing/2014/main" val="1805920052"/>
                  </a:ext>
                </a:extLst>
              </a:tr>
              <a:tr h="370840">
                <a:tc>
                  <a:txBody>
                    <a:bodyPr/>
                    <a:lstStyle/>
                    <a:p>
                      <a:r>
                        <a:rPr lang="en-US" sz="1200"/>
                        <a:t>Heat Network Transformation Programme (</a:t>
                      </a:r>
                      <a:r>
                        <a:rPr lang="en-US" sz="1200">
                          <a:hlinkClick r:id="rId6"/>
                        </a:rPr>
                        <a:t>HNTP</a:t>
                      </a:r>
                      <a:r>
                        <a:rPr lang="en-US" sz="1200"/>
                        <a:t>)</a:t>
                      </a:r>
                    </a:p>
                  </a:txBody>
                  <a:tcPr/>
                </a:tc>
                <a:tc>
                  <a:txBody>
                    <a:bodyPr/>
                    <a:lstStyle/>
                    <a:p>
                      <a:r>
                        <a:rPr lang="en-US" sz="1200"/>
                        <a:t>The HNTP is the broader government programme providing heat network support through the below schemes, as well as heat training grants, regulation, zoning and broader policy. It also provides resources and tools to assist heat network development.</a:t>
                      </a:r>
                    </a:p>
                  </a:txBody>
                  <a:tcPr/>
                </a:tc>
                <a:tc>
                  <a:txBody>
                    <a:bodyPr/>
                    <a:lstStyle/>
                    <a:p>
                      <a:r>
                        <a:rPr lang="en-US" sz="1200"/>
                        <a:t>Not applicable</a:t>
                      </a:r>
                    </a:p>
                  </a:txBody>
                  <a:tcPr/>
                </a:tc>
                <a:tc>
                  <a:txBody>
                    <a:bodyPr/>
                    <a:lstStyle/>
                    <a:p>
                      <a:r>
                        <a:rPr lang="en-US" sz="1200"/>
                        <a:t>Ongoing</a:t>
                      </a:r>
                    </a:p>
                  </a:txBody>
                  <a:tcPr/>
                </a:tc>
                <a:extLst>
                  <a:ext uri="{0D108BD9-81ED-4DB2-BD59-A6C34878D82A}">
                    <a16:rowId xmlns:a16="http://schemas.microsoft.com/office/drawing/2014/main" val="1818612230"/>
                  </a:ext>
                </a:extLst>
              </a:tr>
              <a:tr h="370840">
                <a:tc>
                  <a:txBody>
                    <a:bodyPr/>
                    <a:lstStyle/>
                    <a:p>
                      <a:r>
                        <a:rPr lang="en-US" sz="1200"/>
                        <a:t>Heat Networks Delivery Unit (</a:t>
                      </a:r>
                      <a:r>
                        <a:rPr lang="en-US" sz="1200">
                          <a:hlinkClick r:id="rId7"/>
                        </a:rPr>
                        <a:t>HNDU</a:t>
                      </a:r>
                      <a:r>
                        <a:rPr lang="en-US" sz="1200"/>
                        <a:t>)</a:t>
                      </a:r>
                    </a:p>
                  </a:txBody>
                  <a:tcPr/>
                </a:tc>
                <a:tc>
                  <a:txBody>
                    <a:bodyPr/>
                    <a:lstStyle/>
                    <a:p>
                      <a:r>
                        <a:rPr lang="en-US" sz="1200"/>
                        <a:t>Provides funding and guidance to local authorities and other eligible organisations in England and Wales for heat network project development. It is focused on early-stage development including techno-economic feasibility and detailed project development.</a:t>
                      </a:r>
                    </a:p>
                  </a:txBody>
                  <a:tcPr/>
                </a:tc>
                <a:tc>
                  <a:txBody>
                    <a:bodyPr/>
                    <a:lstStyle/>
                    <a:p>
                      <a:r>
                        <a:rPr lang="en-US" sz="1200"/>
                        <a:t>£38 million so far</a:t>
                      </a:r>
                    </a:p>
                  </a:txBody>
                  <a:tcPr/>
                </a:tc>
                <a:tc>
                  <a:txBody>
                    <a:bodyPr/>
                    <a:lstStyle/>
                    <a:p>
                      <a:r>
                        <a:rPr lang="en-US" sz="1200"/>
                        <a:t>2013 – ongoing</a:t>
                      </a:r>
                    </a:p>
                  </a:txBody>
                  <a:tcPr/>
                </a:tc>
                <a:extLst>
                  <a:ext uri="{0D108BD9-81ED-4DB2-BD59-A6C34878D82A}">
                    <a16:rowId xmlns:a16="http://schemas.microsoft.com/office/drawing/2014/main" val="2997500277"/>
                  </a:ext>
                </a:extLst>
              </a:tr>
              <a:tr h="370840">
                <a:tc>
                  <a:txBody>
                    <a:bodyPr/>
                    <a:lstStyle/>
                    <a:p>
                      <a:r>
                        <a:rPr lang="en-US" sz="1200"/>
                        <a:t>Heat Networks Investment Project (</a:t>
                      </a:r>
                      <a:r>
                        <a:rPr lang="en-US" sz="1200">
                          <a:hlinkClick r:id="rId8"/>
                        </a:rPr>
                        <a:t>HNIP</a:t>
                      </a:r>
                      <a:r>
                        <a:rPr lang="en-US" sz="1200"/>
                        <a:t>)</a:t>
                      </a:r>
                    </a:p>
                  </a:txBody>
                  <a:tcPr/>
                </a:tc>
                <a:tc>
                  <a:txBody>
                    <a:bodyPr/>
                    <a:lstStyle/>
                    <a:p>
                      <a:r>
                        <a:rPr lang="en-US" sz="1200"/>
                        <a:t>Major government scheme to incentive the construction of quality heat network projects through grants and loans and seeking to leverage £1 billion of private sector investment.</a:t>
                      </a:r>
                    </a:p>
                  </a:txBody>
                  <a:tcPr/>
                </a:tc>
                <a:tc>
                  <a:txBody>
                    <a:bodyPr/>
                    <a:lstStyle/>
                    <a:p>
                      <a:r>
                        <a:rPr lang="en-US" sz="1200"/>
                        <a:t>£320 million</a:t>
                      </a:r>
                    </a:p>
                  </a:txBody>
                  <a:tcPr/>
                </a:tc>
                <a:tc>
                  <a:txBody>
                    <a:bodyPr/>
                    <a:lstStyle/>
                    <a:p>
                      <a:r>
                        <a:rPr lang="en-US" sz="1200"/>
                        <a:t>2019 – 2022</a:t>
                      </a:r>
                    </a:p>
                  </a:txBody>
                  <a:tcPr/>
                </a:tc>
                <a:extLst>
                  <a:ext uri="{0D108BD9-81ED-4DB2-BD59-A6C34878D82A}">
                    <a16:rowId xmlns:a16="http://schemas.microsoft.com/office/drawing/2014/main" val="1641559177"/>
                  </a:ext>
                </a:extLst>
              </a:tr>
              <a:tr h="370840">
                <a:tc>
                  <a:txBody>
                    <a:bodyPr/>
                    <a:lstStyle/>
                    <a:p>
                      <a:r>
                        <a:rPr lang="en-US" sz="1200"/>
                        <a:t>Green Heat Network Fund (</a:t>
                      </a:r>
                      <a:r>
                        <a:rPr lang="en-US" sz="1200">
                          <a:hlinkClick r:id="rId9"/>
                        </a:rPr>
                        <a:t>GHNF</a:t>
                      </a:r>
                      <a:r>
                        <a:rPr lang="en-US" sz="1200"/>
                        <a:t>)</a:t>
                      </a:r>
                    </a:p>
                  </a:txBody>
                  <a:tcPr/>
                </a:tc>
                <a:tc>
                  <a:txBody>
                    <a:bodyPr/>
                    <a:lstStyle/>
                    <a:p>
                      <a:r>
                        <a:rPr lang="en-US" sz="1200"/>
                        <a:t>Building on the HNIP, provides funding for the commercialisation and construction of low and zero carbon heat networks. Funding is also available for retrofitting and expansion. The funding has been extended due to the scheme’s success, with £380m+ awarded so far.</a:t>
                      </a:r>
                    </a:p>
                  </a:txBody>
                  <a:tcPr/>
                </a:tc>
                <a:tc>
                  <a:txBody>
                    <a:bodyPr/>
                    <a:lstStyle/>
                    <a:p>
                      <a:r>
                        <a:rPr lang="en-US" sz="1200"/>
                        <a:t>£288 million initially</a:t>
                      </a:r>
                    </a:p>
                  </a:txBody>
                  <a:tcPr/>
                </a:tc>
                <a:tc>
                  <a:txBody>
                    <a:bodyPr/>
                    <a:lstStyle/>
                    <a:p>
                      <a:r>
                        <a:rPr lang="en-US" sz="1200"/>
                        <a:t>2022 – ongoing</a:t>
                      </a:r>
                    </a:p>
                  </a:txBody>
                  <a:tcPr/>
                </a:tc>
                <a:extLst>
                  <a:ext uri="{0D108BD9-81ED-4DB2-BD59-A6C34878D82A}">
                    <a16:rowId xmlns:a16="http://schemas.microsoft.com/office/drawing/2014/main" val="518094875"/>
                  </a:ext>
                </a:extLst>
              </a:tr>
              <a:tr h="370840">
                <a:tc>
                  <a:txBody>
                    <a:bodyPr/>
                    <a:lstStyle/>
                    <a:p>
                      <a:r>
                        <a:rPr lang="en-US" sz="1200"/>
                        <a:t>BEIS Heat Investment Vehicle (</a:t>
                      </a:r>
                      <a:r>
                        <a:rPr lang="en-US" sz="1200">
                          <a:hlinkClick r:id="rId10"/>
                        </a:rPr>
                        <a:t>BHIVE</a:t>
                      </a:r>
                      <a:r>
                        <a:rPr lang="en-US" sz="1200"/>
                        <a:t>)</a:t>
                      </a:r>
                    </a:p>
                  </a:txBody>
                  <a:tcPr/>
                </a:tc>
                <a:tc>
                  <a:txBody>
                    <a:bodyPr/>
                    <a:lstStyle/>
                    <a:p>
                      <a:r>
                        <a:rPr lang="en-US" sz="1200"/>
                        <a:t>Purchasing system established by DESNZ to enable public sector heat network owners/developers to procure funding for their projects from a range of potential funders.</a:t>
                      </a:r>
                    </a:p>
                  </a:txBody>
                  <a:tcPr/>
                </a:tc>
                <a:tc>
                  <a:txBody>
                    <a:bodyPr/>
                    <a:lstStyle/>
                    <a:p>
                      <a:r>
                        <a:rPr lang="en-US" sz="1200"/>
                        <a:t>Not applicable</a:t>
                      </a:r>
                    </a:p>
                  </a:txBody>
                  <a:tcPr/>
                </a:tc>
                <a:tc>
                  <a:txBody>
                    <a:bodyPr/>
                    <a:lstStyle/>
                    <a:p>
                      <a:r>
                        <a:rPr lang="en-US" sz="1200"/>
                        <a:t>2020 – 2025</a:t>
                      </a:r>
                    </a:p>
                  </a:txBody>
                  <a:tcPr/>
                </a:tc>
                <a:extLst>
                  <a:ext uri="{0D108BD9-81ED-4DB2-BD59-A6C34878D82A}">
                    <a16:rowId xmlns:a16="http://schemas.microsoft.com/office/drawing/2014/main" val="2436105901"/>
                  </a:ext>
                </a:extLst>
              </a:tr>
              <a:tr h="370840">
                <a:tc>
                  <a:txBody>
                    <a:bodyPr/>
                    <a:lstStyle/>
                    <a:p>
                      <a:r>
                        <a:rPr lang="en-US" sz="1200"/>
                        <a:t>Energy Bills Discount Scheme (</a:t>
                      </a:r>
                      <a:r>
                        <a:rPr lang="en-US" sz="1200">
                          <a:hlinkClick r:id="rId11"/>
                        </a:rPr>
                        <a:t>EBDS</a:t>
                      </a:r>
                      <a:r>
                        <a:rPr lang="en-US" sz="1200"/>
                        <a:t>)</a:t>
                      </a:r>
                    </a:p>
                  </a:txBody>
                  <a:tcPr/>
                </a:tc>
                <a:tc>
                  <a:txBody>
                    <a:bodyPr/>
                    <a:lstStyle/>
                    <a:p>
                      <a:r>
                        <a:rPr lang="en-US" sz="1200"/>
                        <a:t>The EBDS support for heat suppliers brings provides support to bring down the price paid for gas and electricity by heat suppliers down to a Minimum Supply Price (MSP). This discount is then passed on to customers and ensure that customers on heat networks do not face disproportionately high heat and hot water bills.</a:t>
                      </a:r>
                    </a:p>
                  </a:txBody>
                  <a:tcPr/>
                </a:tc>
                <a:tc>
                  <a:txBody>
                    <a:bodyPr/>
                    <a:lstStyle/>
                    <a:p>
                      <a:r>
                        <a:rPr lang="en-US" sz="1200"/>
                        <a:t>£5.5 billion</a:t>
                      </a:r>
                    </a:p>
                  </a:txBody>
                  <a:tcPr/>
                </a:tc>
                <a:tc>
                  <a:txBody>
                    <a:bodyPr/>
                    <a:lstStyle/>
                    <a:p>
                      <a:r>
                        <a:rPr lang="en-US" sz="1200"/>
                        <a:t>2023 – 2024</a:t>
                      </a:r>
                    </a:p>
                  </a:txBody>
                  <a:tcPr/>
                </a:tc>
                <a:extLst>
                  <a:ext uri="{0D108BD9-81ED-4DB2-BD59-A6C34878D82A}">
                    <a16:rowId xmlns:a16="http://schemas.microsoft.com/office/drawing/2014/main" val="1455234177"/>
                  </a:ext>
                </a:extLst>
              </a:tr>
              <a:tr h="370840">
                <a:tc>
                  <a:txBody>
                    <a:bodyPr/>
                    <a:lstStyle/>
                    <a:p>
                      <a:r>
                        <a:rPr lang="en-US" sz="1200"/>
                        <a:t>Heat Network Efficiency Scheme (</a:t>
                      </a:r>
                      <a:r>
                        <a:rPr lang="en-US" sz="1200">
                          <a:hlinkClick r:id="rId12"/>
                        </a:rPr>
                        <a:t>HNES</a:t>
                      </a:r>
                      <a:r>
                        <a:rPr lang="en-US" sz="1200"/>
                        <a:t>)</a:t>
                      </a:r>
                    </a:p>
                  </a:txBody>
                  <a:tcPr/>
                </a:tc>
                <a:tc>
                  <a:txBody>
                    <a:bodyPr/>
                    <a:lstStyle/>
                    <a:p>
                      <a:r>
                        <a:rPr lang="en-US" sz="1200"/>
                        <a:t>Funds improvements to existing district or communal heating projects that are operating sub-optimally.</a:t>
                      </a:r>
                    </a:p>
                  </a:txBody>
                  <a:tcPr/>
                </a:tc>
                <a:tc>
                  <a:txBody>
                    <a:bodyPr/>
                    <a:lstStyle/>
                    <a:p>
                      <a:r>
                        <a:rPr lang="en-US" sz="1200"/>
                        <a:t>£80 million</a:t>
                      </a:r>
                    </a:p>
                  </a:txBody>
                  <a:tcPr/>
                </a:tc>
                <a:tc>
                  <a:txBody>
                    <a:bodyPr/>
                    <a:lstStyle/>
                    <a:p>
                      <a:r>
                        <a:rPr lang="en-US" sz="1200"/>
                        <a:t>2023 – 2028</a:t>
                      </a:r>
                    </a:p>
                  </a:txBody>
                  <a:tcPr/>
                </a:tc>
                <a:extLst>
                  <a:ext uri="{0D108BD9-81ED-4DB2-BD59-A6C34878D82A}">
                    <a16:rowId xmlns:a16="http://schemas.microsoft.com/office/drawing/2014/main" val="3243569659"/>
                  </a:ext>
                </a:extLst>
              </a:tr>
            </a:tbl>
          </a:graphicData>
        </a:graphic>
      </p:graphicFrame>
      <p:sp>
        <p:nvSpPr>
          <p:cNvPr id="3" name="TextBox 2">
            <a:extLst>
              <a:ext uri="{FF2B5EF4-FFF2-40B4-BE49-F238E27FC236}">
                <a16:creationId xmlns:a16="http://schemas.microsoft.com/office/drawing/2014/main" id="{47BEAC90-C8F8-DD7B-379B-A8F675A9D740}"/>
              </a:ext>
            </a:extLst>
          </p:cNvPr>
          <p:cNvSpPr txBox="1"/>
          <p:nvPr/>
        </p:nvSpPr>
        <p:spPr>
          <a:xfrm>
            <a:off x="466959" y="1063199"/>
            <a:ext cx="11304127" cy="646331"/>
          </a:xfrm>
          <a:prstGeom prst="rect">
            <a:avLst/>
          </a:prstGeom>
          <a:noFill/>
        </p:spPr>
        <p:txBody>
          <a:bodyPr wrap="square" rtlCol="0">
            <a:spAutoFit/>
          </a:bodyPr>
          <a:lstStyle/>
          <a:p>
            <a:r>
              <a:rPr lang="en-US"/>
              <a:t>Various government funding pots are available for the development and deployment of heat networks, as well as their  decarbonisation and efficiency improvements</a:t>
            </a:r>
          </a:p>
        </p:txBody>
      </p:sp>
    </p:spTree>
    <p:extLst>
      <p:ext uri="{BB962C8B-B14F-4D97-AF65-F5344CB8AC3E}">
        <p14:creationId xmlns:p14="http://schemas.microsoft.com/office/powerpoint/2010/main" val="2663002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D5D02D-1F3B-7605-6F1E-650DACBCD09B}"/>
              </a:ext>
            </a:extLst>
          </p:cNvPr>
          <p:cNvGraphicFramePr>
            <a:graphicFrameLocks noChangeAspect="1"/>
          </p:cNvGraphicFramePr>
          <p:nvPr>
            <p:custDataLst>
              <p:tags r:id="rId1"/>
            </p:custDataLst>
            <p:extLst>
              <p:ext uri="{D42A27DB-BD31-4B8C-83A1-F6EECF244321}">
                <p14:modId xmlns:p14="http://schemas.microsoft.com/office/powerpoint/2010/main" val="300707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5" name="think-cell data - do not delete" hidden="1">
                        <a:extLst>
                          <a:ext uri="{FF2B5EF4-FFF2-40B4-BE49-F238E27FC236}">
                            <a16:creationId xmlns:a16="http://schemas.microsoft.com/office/drawing/2014/main" id="{59D5D02D-1F3B-7605-6F1E-650DACBCD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B2ED6FF-600D-4046-A920-7111BF7D0016}"/>
              </a:ext>
            </a:extLst>
          </p:cNvPr>
          <p:cNvSpPr/>
          <p:nvPr/>
        </p:nvSpPr>
        <p:spPr>
          <a:xfrm>
            <a:off x="466959" y="2121408"/>
            <a:ext cx="11304127" cy="2987920"/>
          </a:xfrm>
          <a:prstGeom prst="rect">
            <a:avLst/>
          </a:prstGeom>
          <a:noFill/>
          <a:ln w="28575">
            <a:solidFill>
              <a:schemeClr val="accent2"/>
            </a:solidFill>
          </a:ln>
        </p:spPr>
        <p:style>
          <a:lnRef idx="2">
            <a:schemeClr val="accent1"/>
          </a:lnRef>
          <a:fillRef idx="1">
            <a:schemeClr val="lt1"/>
          </a:fillRef>
          <a:effectRef idx="0">
            <a:schemeClr val="accent1"/>
          </a:effectRef>
          <a:fontRef idx="minor">
            <a:schemeClr val="dk1"/>
          </a:fontRef>
        </p:style>
        <p:txBody>
          <a:bodyPr rtlCol="0" anchor="t"/>
          <a:lstStyle/>
          <a:p>
            <a:endParaRPr lang="en-US" sz="1400" dirty="0"/>
          </a:p>
          <a:p>
            <a:pPr marL="285750" indent="-285750">
              <a:buFont typeface="Wingdings" panose="05000000000000000000" pitchFamily="2" charset="2"/>
              <a:buChar char="Ø"/>
            </a:pPr>
            <a:endParaRPr lang="en-US" sz="1400" dirty="0"/>
          </a:p>
          <a:p>
            <a:pPr marL="285750" indent="-285750">
              <a:buFont typeface="Wingdings" panose="05000000000000000000" pitchFamily="2" charset="2"/>
              <a:buChar char="Ø"/>
            </a:pPr>
            <a:r>
              <a:rPr lang="en-US" sz="1400" dirty="0"/>
              <a:t>The purpose of this document is to track projects, policies, market design and regulation relevant to Heatropolis. Heatropolis Beta Phase will run over four years which could see policy and regulatory changes regarding many areas relevant to the project delivery, such as heat network regulation and roll out. To ensure the solutions Heatropolis tests reflect reality, it is important to keep up to date with current and upcoming developments. </a:t>
            </a:r>
          </a:p>
          <a:p>
            <a:pPr marL="285750" indent="-285750">
              <a:buFont typeface="Wingdings" panose="05000000000000000000" pitchFamily="2" charset="2"/>
              <a:buChar char="Ø"/>
            </a:pPr>
            <a:endParaRPr lang="en-US" sz="1400" dirty="0"/>
          </a:p>
          <a:p>
            <a:pPr marL="285750" indent="-285750">
              <a:buFont typeface="Wingdings" panose="05000000000000000000" pitchFamily="2" charset="2"/>
              <a:buChar char="Ø"/>
            </a:pPr>
            <a:r>
              <a:rPr lang="en-US" sz="1400" dirty="0"/>
              <a:t>In addition, there are many projects working on different aspects of the electrification of heat, flexibility and commercial arrangements, and this Horizon Scan will ensure Heatropolis takes on learnings from other such projects and countries to avoid duplication of effort. It will also enable the identification of opportunities for dissemination and knowledge sharing with other projects who could benefit from Heatropolis learnings.</a:t>
            </a:r>
          </a:p>
          <a:p>
            <a:pPr marL="285750" indent="-285750">
              <a:buFont typeface="Wingdings" panose="05000000000000000000" pitchFamily="2" charset="2"/>
              <a:buChar char="Ø"/>
            </a:pPr>
            <a:endParaRPr lang="en-US" sz="1400" dirty="0"/>
          </a:p>
          <a:p>
            <a:pPr marL="285750" indent="-285750">
              <a:buFont typeface="Wingdings" panose="05000000000000000000" pitchFamily="2" charset="2"/>
              <a:buChar char="Ø"/>
            </a:pPr>
            <a:r>
              <a:rPr lang="en-US" sz="1400" dirty="0"/>
              <a:t>This document gives an overview of the state of heat network deployment and decarbonisation in the UK. It then identifies and documents relevant projects in the UK and Europe including approach, outcomes and key relevant learnings. Finally, it provides an overview of current and upcoming relevant regulation and policy in the UK and analyses the potential impacts of these.</a:t>
            </a:r>
          </a:p>
          <a:p>
            <a:pPr marL="285750" indent="-285750">
              <a:buFont typeface="Wingdings" panose="05000000000000000000" pitchFamily="2" charset="2"/>
              <a:buChar char="Ø"/>
            </a:pPr>
            <a:endParaRPr lang="en-US" sz="1400" dirty="0"/>
          </a:p>
          <a:p>
            <a:pPr marL="285750" indent="-285750">
              <a:buFont typeface="Wingdings" panose="05000000000000000000" pitchFamily="2" charset="2"/>
              <a:buChar char="Ø"/>
            </a:pPr>
            <a:endParaRPr lang="en-US" sz="1400" dirty="0"/>
          </a:p>
        </p:txBody>
      </p:sp>
      <p:sp>
        <p:nvSpPr>
          <p:cNvPr id="13" name="Rectangle 12">
            <a:extLst>
              <a:ext uri="{FF2B5EF4-FFF2-40B4-BE49-F238E27FC236}">
                <a16:creationId xmlns:a16="http://schemas.microsoft.com/office/drawing/2014/main" id="{95C76A35-4384-EAC3-0695-CD3B02501475}"/>
              </a:ext>
            </a:extLst>
          </p:cNvPr>
          <p:cNvSpPr/>
          <p:nvPr/>
        </p:nvSpPr>
        <p:spPr>
          <a:xfrm>
            <a:off x="804672" y="1922026"/>
            <a:ext cx="2560320" cy="52322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336478-23DB-362C-5BEF-A3D2DE88EB87}"/>
              </a:ext>
            </a:extLst>
          </p:cNvPr>
          <p:cNvSpPr>
            <a:spLocks noGrp="1"/>
          </p:cNvSpPr>
          <p:nvPr>
            <p:ph type="title"/>
          </p:nvPr>
        </p:nvSpPr>
        <p:spPr/>
        <p:txBody>
          <a:bodyPr vert="horz"/>
          <a:lstStyle/>
          <a:p>
            <a:r>
              <a:rPr lang="en-US"/>
              <a:t>Horizon Scan Purpose &amp; Outline</a:t>
            </a:r>
          </a:p>
        </p:txBody>
      </p:sp>
      <p:sp>
        <p:nvSpPr>
          <p:cNvPr id="7" name="TextBox 6">
            <a:extLst>
              <a:ext uri="{FF2B5EF4-FFF2-40B4-BE49-F238E27FC236}">
                <a16:creationId xmlns:a16="http://schemas.microsoft.com/office/drawing/2014/main" id="{FBAF4690-AAFC-EEF8-D8FC-AC8BD2D3F74B}"/>
              </a:ext>
            </a:extLst>
          </p:cNvPr>
          <p:cNvSpPr txBox="1"/>
          <p:nvPr/>
        </p:nvSpPr>
        <p:spPr>
          <a:xfrm>
            <a:off x="1353312" y="1965960"/>
            <a:ext cx="2011680" cy="369332"/>
          </a:xfrm>
          <a:prstGeom prst="rect">
            <a:avLst/>
          </a:prstGeom>
          <a:noFill/>
        </p:spPr>
        <p:txBody>
          <a:bodyPr wrap="square" rtlCol="0">
            <a:spAutoFit/>
          </a:bodyPr>
          <a:lstStyle/>
          <a:p>
            <a:r>
              <a:rPr lang="en-US"/>
              <a:t>Document Purpose</a:t>
            </a:r>
          </a:p>
        </p:txBody>
      </p:sp>
      <p:pic>
        <p:nvPicPr>
          <p:cNvPr id="9" name="Graphic 8" descr="Bullseye with solid fill">
            <a:extLst>
              <a:ext uri="{FF2B5EF4-FFF2-40B4-BE49-F238E27FC236}">
                <a16:creationId xmlns:a16="http://schemas.microsoft.com/office/drawing/2014/main" id="{185C576E-4BE7-1BB4-3807-C5E3F49C5F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6112" y="1922026"/>
            <a:ext cx="457200" cy="457200"/>
          </a:xfrm>
          <a:prstGeom prst="rect">
            <a:avLst/>
          </a:prstGeom>
        </p:spPr>
      </p:pic>
    </p:spTree>
    <p:extLst>
      <p:ext uri="{BB962C8B-B14F-4D97-AF65-F5344CB8AC3E}">
        <p14:creationId xmlns:p14="http://schemas.microsoft.com/office/powerpoint/2010/main" val="3989600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D5D02D-1F3B-7605-6F1E-650DACBCD09B}"/>
              </a:ext>
            </a:extLst>
          </p:cNvPr>
          <p:cNvGraphicFramePr>
            <a:graphicFrameLocks noChangeAspect="1"/>
          </p:cNvGraphicFramePr>
          <p:nvPr>
            <p:custDataLst>
              <p:tags r:id="rId1"/>
            </p:custDataLst>
            <p:extLst>
              <p:ext uri="{D42A27DB-BD31-4B8C-83A1-F6EECF244321}">
                <p14:modId xmlns:p14="http://schemas.microsoft.com/office/powerpoint/2010/main" val="2065060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59D5D02D-1F3B-7605-6F1E-650DACBCD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336478-23DB-362C-5BEF-A3D2DE88EB87}"/>
              </a:ext>
            </a:extLst>
          </p:cNvPr>
          <p:cNvSpPr>
            <a:spLocks noGrp="1"/>
          </p:cNvSpPr>
          <p:nvPr>
            <p:ph type="title"/>
          </p:nvPr>
        </p:nvSpPr>
        <p:spPr/>
        <p:txBody>
          <a:bodyPr vert="horz"/>
          <a:lstStyle/>
          <a:p>
            <a:r>
              <a:rPr lang="en-US"/>
              <a:t>Horizon Scan Methodology</a:t>
            </a:r>
          </a:p>
        </p:txBody>
      </p:sp>
      <p:sp>
        <p:nvSpPr>
          <p:cNvPr id="10" name="Rectangle 9">
            <a:extLst>
              <a:ext uri="{FF2B5EF4-FFF2-40B4-BE49-F238E27FC236}">
                <a16:creationId xmlns:a16="http://schemas.microsoft.com/office/drawing/2014/main" id="{4C521EB0-4387-66A3-F6D6-530638B7C33A}"/>
              </a:ext>
            </a:extLst>
          </p:cNvPr>
          <p:cNvSpPr/>
          <p:nvPr/>
        </p:nvSpPr>
        <p:spPr>
          <a:xfrm>
            <a:off x="466959" y="1498963"/>
            <a:ext cx="4524141" cy="3177811"/>
          </a:xfrm>
          <a:prstGeom prst="rect">
            <a:avLst/>
          </a:prstGeom>
          <a:ln>
            <a:noFill/>
          </a:ln>
        </p:spPr>
        <p:style>
          <a:lnRef idx="2">
            <a:schemeClr val="dk1"/>
          </a:lnRef>
          <a:fillRef idx="1">
            <a:schemeClr val="lt1"/>
          </a:fillRef>
          <a:effectRef idx="0">
            <a:schemeClr val="dk1"/>
          </a:effectRef>
          <a:fontRef idx="minor">
            <a:schemeClr val="dk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r>
              <a:rPr lang="en-US" sz="1200">
                <a:solidFill>
                  <a:sysClr val="windowText" lastClr="000000"/>
                </a:solidFill>
              </a:rPr>
              <a:t>Over the course of each year, we will maintain a database of news articles, announcements, and key documents to compile into the annual Horizon Scan, ensuring we are building a strong pipeline of content and spreading the effort. We will employ the research approach depicted on the right to feed the database.</a:t>
            </a:r>
          </a:p>
          <a:p>
            <a:pPr marL="91440"/>
            <a:endParaRPr lang="en-US" sz="1200">
              <a:solidFill>
                <a:sysClr val="windowText" lastClr="000000"/>
              </a:solidFill>
            </a:endParaRPr>
          </a:p>
        </p:txBody>
      </p:sp>
      <p:sp>
        <p:nvSpPr>
          <p:cNvPr id="11" name="Rectangle: Rounded Corners 10">
            <a:extLst>
              <a:ext uri="{FF2B5EF4-FFF2-40B4-BE49-F238E27FC236}">
                <a16:creationId xmlns:a16="http://schemas.microsoft.com/office/drawing/2014/main" id="{7457994C-1AF3-0E36-3B78-560D848B4ACE}"/>
              </a:ext>
            </a:extLst>
          </p:cNvPr>
          <p:cNvSpPr/>
          <p:nvPr/>
        </p:nvSpPr>
        <p:spPr>
          <a:xfrm>
            <a:off x="5244704" y="1499147"/>
            <a:ext cx="6526382" cy="42062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chemeClr val="bg1"/>
                </a:solidFill>
                <a:cs typeface="Arial"/>
              </a:rPr>
              <a:t>Research Approach</a:t>
            </a:r>
            <a:endParaRPr lang="en-GB" sz="1000">
              <a:solidFill>
                <a:schemeClr val="tx1"/>
              </a:solidFill>
              <a:cs typeface="Arial" panose="020B0604020202020204" pitchFamily="34" charset="0"/>
            </a:endParaRPr>
          </a:p>
        </p:txBody>
      </p:sp>
      <p:sp>
        <p:nvSpPr>
          <p:cNvPr id="12" name="Rectangle: Rounded Corners 11">
            <a:extLst>
              <a:ext uri="{FF2B5EF4-FFF2-40B4-BE49-F238E27FC236}">
                <a16:creationId xmlns:a16="http://schemas.microsoft.com/office/drawing/2014/main" id="{B3A1CB48-38CB-0BE3-CB43-E1EFEF588343}"/>
              </a:ext>
            </a:extLst>
          </p:cNvPr>
          <p:cNvSpPr/>
          <p:nvPr/>
        </p:nvSpPr>
        <p:spPr>
          <a:xfrm>
            <a:off x="5244704" y="2040075"/>
            <a:ext cx="3200400" cy="2011680"/>
          </a:xfrm>
          <a:prstGeom prst="roundRect">
            <a:avLst/>
          </a:prstGeom>
          <a:solidFill>
            <a:schemeClr val="accent2">
              <a:lumMod val="20000"/>
              <a:lumOff val="80000"/>
            </a:schemeClr>
          </a:solidFill>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200" b="1">
                <a:solidFill>
                  <a:schemeClr val="tx1"/>
                </a:solidFill>
                <a:cs typeface="Arial"/>
              </a:rPr>
              <a:t>Desk based research</a:t>
            </a:r>
          </a:p>
          <a:p>
            <a:pPr algn="ctr"/>
            <a:endParaRPr lang="en-GB" sz="1200">
              <a:solidFill>
                <a:schemeClr val="tx1"/>
              </a:solidFill>
              <a:cs typeface="Arial"/>
            </a:endParaRPr>
          </a:p>
          <a:p>
            <a:pPr algn="ctr"/>
            <a:r>
              <a:rPr lang="en-GB" sz="1200">
                <a:solidFill>
                  <a:schemeClr val="tx1"/>
                </a:solidFill>
                <a:cs typeface="Arial"/>
              </a:rPr>
              <a:t>We will use a search engine to look up projects using key words “heat networks”, “flexibility”, “thermal storage”, etc.</a:t>
            </a:r>
          </a:p>
          <a:p>
            <a:pPr algn="ctr"/>
            <a:r>
              <a:rPr lang="en-GB" sz="1200">
                <a:solidFill>
                  <a:schemeClr val="tx1"/>
                </a:solidFill>
                <a:cs typeface="Arial"/>
              </a:rPr>
              <a:t>We will also target specific websites for relevant content, such as the ENA portal, ADE website and energy news sites like Utility Week and Energy UK.</a:t>
            </a:r>
          </a:p>
        </p:txBody>
      </p:sp>
      <p:sp>
        <p:nvSpPr>
          <p:cNvPr id="16" name="Rectangle: Rounded Corners 15">
            <a:extLst>
              <a:ext uri="{FF2B5EF4-FFF2-40B4-BE49-F238E27FC236}">
                <a16:creationId xmlns:a16="http://schemas.microsoft.com/office/drawing/2014/main" id="{EA3844AD-26AA-21C0-F1F1-463BAC56D9A6}"/>
              </a:ext>
            </a:extLst>
          </p:cNvPr>
          <p:cNvSpPr/>
          <p:nvPr/>
        </p:nvSpPr>
        <p:spPr>
          <a:xfrm>
            <a:off x="5244704" y="4172059"/>
            <a:ext cx="3200400" cy="2011680"/>
          </a:xfrm>
          <a:prstGeom prst="roundRect">
            <a:avLst/>
          </a:prstGeom>
          <a:solidFill>
            <a:schemeClr val="accent2">
              <a:lumMod val="20000"/>
              <a:lumOff val="80000"/>
            </a:schemeClr>
          </a:solidFill>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200" b="1">
                <a:solidFill>
                  <a:schemeClr val="tx1"/>
                </a:solidFill>
                <a:cs typeface="Arial"/>
              </a:rPr>
              <a:t>Newsletters</a:t>
            </a:r>
          </a:p>
          <a:p>
            <a:pPr algn="ctr"/>
            <a:endParaRPr lang="en-GB" sz="1200">
              <a:solidFill>
                <a:schemeClr val="tx1"/>
              </a:solidFill>
              <a:cs typeface="Arial"/>
            </a:endParaRPr>
          </a:p>
          <a:p>
            <a:pPr algn="ctr"/>
            <a:r>
              <a:rPr lang="en-GB" sz="1200">
                <a:solidFill>
                  <a:schemeClr val="tx1"/>
                </a:solidFill>
                <a:cs typeface="Arial"/>
              </a:rPr>
              <a:t>By signing up to newsletters from key organisations and news outlets, we will ensure we receive industry updates as they arise and add them to the database.</a:t>
            </a:r>
          </a:p>
          <a:p>
            <a:pPr algn="ctr"/>
            <a:endParaRPr lang="en-GB" sz="1200">
              <a:solidFill>
                <a:schemeClr val="tx1"/>
              </a:solidFill>
              <a:cs typeface="Arial"/>
            </a:endParaRPr>
          </a:p>
          <a:p>
            <a:pPr algn="ctr"/>
            <a:endParaRPr lang="en-GB" sz="1200">
              <a:solidFill>
                <a:schemeClr val="tx1"/>
              </a:solidFill>
              <a:cs typeface="Arial"/>
            </a:endParaRPr>
          </a:p>
          <a:p>
            <a:pPr algn="ctr"/>
            <a:endParaRPr lang="en-GB" sz="1200">
              <a:solidFill>
                <a:schemeClr val="tx1"/>
              </a:solidFill>
              <a:cs typeface="Arial"/>
            </a:endParaRPr>
          </a:p>
        </p:txBody>
      </p:sp>
      <p:sp>
        <p:nvSpPr>
          <p:cNvPr id="17" name="Rectangle: Rounded Corners 16">
            <a:extLst>
              <a:ext uri="{FF2B5EF4-FFF2-40B4-BE49-F238E27FC236}">
                <a16:creationId xmlns:a16="http://schemas.microsoft.com/office/drawing/2014/main" id="{A40F7CF4-B882-77D2-6B16-64B867067386}"/>
              </a:ext>
            </a:extLst>
          </p:cNvPr>
          <p:cNvSpPr/>
          <p:nvPr/>
        </p:nvSpPr>
        <p:spPr>
          <a:xfrm>
            <a:off x="8570686" y="2040075"/>
            <a:ext cx="3200400" cy="2011680"/>
          </a:xfrm>
          <a:prstGeom prst="roundRect">
            <a:avLst/>
          </a:prstGeom>
          <a:solidFill>
            <a:schemeClr val="accent2">
              <a:lumMod val="20000"/>
              <a:lumOff val="80000"/>
            </a:schemeClr>
          </a:solidFill>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200" b="1" dirty="0">
                <a:solidFill>
                  <a:schemeClr val="tx1"/>
                </a:solidFill>
                <a:cs typeface="Arial"/>
              </a:rPr>
              <a:t>Stakeholder inputs</a:t>
            </a:r>
          </a:p>
          <a:p>
            <a:pPr algn="ctr"/>
            <a:endParaRPr lang="en-GB" sz="1200" dirty="0">
              <a:solidFill>
                <a:schemeClr val="tx1"/>
              </a:solidFill>
              <a:cs typeface="Arial"/>
            </a:endParaRPr>
          </a:p>
          <a:p>
            <a:pPr algn="ctr"/>
            <a:r>
              <a:rPr lang="en-US" sz="1200" dirty="0">
                <a:solidFill>
                  <a:schemeClr val="tx1"/>
                </a:solidFill>
                <a:cs typeface="Arial"/>
              </a:rPr>
              <a:t>Project partners will contribute to the database of relevant news and projects, especially where they have industry specific or expert knowledge that other partners may not have access to otherwise. We will also note any insights from external stakeholder engagements.</a:t>
            </a:r>
          </a:p>
        </p:txBody>
      </p:sp>
      <p:sp>
        <p:nvSpPr>
          <p:cNvPr id="18" name="Rectangle: Rounded Corners 17">
            <a:extLst>
              <a:ext uri="{FF2B5EF4-FFF2-40B4-BE49-F238E27FC236}">
                <a16:creationId xmlns:a16="http://schemas.microsoft.com/office/drawing/2014/main" id="{F9F980F0-A96B-54CA-441A-306A6A83ABA7}"/>
              </a:ext>
            </a:extLst>
          </p:cNvPr>
          <p:cNvSpPr/>
          <p:nvPr/>
        </p:nvSpPr>
        <p:spPr>
          <a:xfrm>
            <a:off x="8570686" y="4170680"/>
            <a:ext cx="3200400" cy="2011680"/>
          </a:xfrm>
          <a:prstGeom prst="roundRect">
            <a:avLst/>
          </a:prstGeom>
          <a:solidFill>
            <a:schemeClr val="accent2">
              <a:lumMod val="20000"/>
              <a:lumOff val="80000"/>
            </a:schemeClr>
          </a:solidFill>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200" b="1" dirty="0">
                <a:solidFill>
                  <a:schemeClr val="tx1"/>
                </a:solidFill>
                <a:cs typeface="Arial"/>
              </a:rPr>
              <a:t>Conferences and webinars</a:t>
            </a:r>
          </a:p>
          <a:p>
            <a:pPr algn="ctr"/>
            <a:endParaRPr lang="en-GB" sz="1200" dirty="0">
              <a:solidFill>
                <a:schemeClr val="tx1"/>
              </a:solidFill>
              <a:cs typeface="Arial"/>
            </a:endParaRPr>
          </a:p>
          <a:p>
            <a:pPr algn="ctr"/>
            <a:r>
              <a:rPr lang="en-GB" sz="1200" dirty="0">
                <a:solidFill>
                  <a:schemeClr val="tx1"/>
                </a:solidFill>
                <a:cs typeface="Arial"/>
              </a:rPr>
              <a:t>Representatives from the project team will attend any relevant presentations, webinars and conferences (e.g. ADE heat networks forum) throughout the year and share relevant learnings with the wider project team, feeding into the Horizon Scan where appropriate.</a:t>
            </a:r>
          </a:p>
        </p:txBody>
      </p:sp>
      <p:sp>
        <p:nvSpPr>
          <p:cNvPr id="20" name="TextBox 19">
            <a:extLst>
              <a:ext uri="{FF2B5EF4-FFF2-40B4-BE49-F238E27FC236}">
                <a16:creationId xmlns:a16="http://schemas.microsoft.com/office/drawing/2014/main" id="{AEFD3549-7813-4192-6362-C0F7B3D54994}"/>
              </a:ext>
            </a:extLst>
          </p:cNvPr>
          <p:cNvSpPr txBox="1"/>
          <p:nvPr/>
        </p:nvSpPr>
        <p:spPr>
          <a:xfrm>
            <a:off x="1448230" y="2836365"/>
            <a:ext cx="3542869" cy="3231654"/>
          </a:xfrm>
          <a:prstGeom prst="rect">
            <a:avLst/>
          </a:prstGeom>
          <a:noFill/>
        </p:spPr>
        <p:txBody>
          <a:bodyPr wrap="square">
            <a:spAutoFit/>
          </a:bodyPr>
          <a:lstStyle/>
          <a:p>
            <a:pPr marL="91440"/>
            <a:r>
              <a:rPr lang="en-US" sz="1200">
                <a:solidFill>
                  <a:sysClr val="windowText" lastClr="000000"/>
                </a:solidFill>
              </a:rPr>
              <a:t>Collect information about news, updates and new projects into the Horizon Scan database throughout the year.</a:t>
            </a:r>
          </a:p>
          <a:p>
            <a:pPr marL="91440"/>
            <a:endParaRPr lang="en-US" sz="1200">
              <a:solidFill>
                <a:sysClr val="windowText" lastClr="000000"/>
              </a:solidFill>
            </a:endParaRPr>
          </a:p>
          <a:p>
            <a:pPr marL="91440"/>
            <a:r>
              <a:rPr lang="en-US" sz="1200">
                <a:solidFill>
                  <a:sysClr val="windowText" lastClr="000000"/>
                </a:solidFill>
              </a:rPr>
              <a:t>Review the database and ask the project partners and any key external stakeholders for further inputs.</a:t>
            </a:r>
          </a:p>
          <a:p>
            <a:pPr marL="91440"/>
            <a:endParaRPr lang="en-US" sz="1200">
              <a:solidFill>
                <a:sysClr val="windowText" lastClr="000000"/>
              </a:solidFill>
            </a:endParaRPr>
          </a:p>
          <a:p>
            <a:pPr marL="91440"/>
            <a:r>
              <a:rPr lang="en-US" sz="1200">
                <a:solidFill>
                  <a:sysClr val="windowText" lastClr="000000"/>
                </a:solidFill>
              </a:rPr>
              <a:t>Draft the annual Horizon Scan, as well as new projects and news, it should include updates on ongoing projects which were identified in previous iterations of the Horizon Scan.</a:t>
            </a:r>
          </a:p>
          <a:p>
            <a:pPr marL="91440"/>
            <a:endParaRPr lang="en-US" sz="1200">
              <a:solidFill>
                <a:sysClr val="windowText" lastClr="000000"/>
              </a:solidFill>
            </a:endParaRPr>
          </a:p>
          <a:p>
            <a:pPr marL="91440"/>
            <a:r>
              <a:rPr lang="en-US" sz="1200">
                <a:solidFill>
                  <a:sysClr val="windowText" lastClr="000000"/>
                </a:solidFill>
              </a:rPr>
              <a:t>Send annual Horizon Scan to the project partners for review.</a:t>
            </a:r>
          </a:p>
          <a:p>
            <a:pPr marL="91440"/>
            <a:endParaRPr lang="en-US" sz="1200">
              <a:solidFill>
                <a:sysClr val="windowText" lastClr="000000"/>
              </a:solidFill>
            </a:endParaRPr>
          </a:p>
          <a:p>
            <a:pPr marL="91440"/>
            <a:r>
              <a:rPr lang="en-US" sz="1200">
                <a:solidFill>
                  <a:sysClr val="windowText" lastClr="000000"/>
                </a:solidFill>
              </a:rPr>
              <a:t>Finalise and disseminate, applying learnings to other work packages.</a:t>
            </a:r>
          </a:p>
        </p:txBody>
      </p:sp>
      <p:sp>
        <p:nvSpPr>
          <p:cNvPr id="22" name="Rectangle: Rounded Corners 21">
            <a:extLst>
              <a:ext uri="{FF2B5EF4-FFF2-40B4-BE49-F238E27FC236}">
                <a16:creationId xmlns:a16="http://schemas.microsoft.com/office/drawing/2014/main" id="{10B15CD2-3F84-A267-15D9-F86CE8522ECC}"/>
              </a:ext>
            </a:extLst>
          </p:cNvPr>
          <p:cNvSpPr/>
          <p:nvPr/>
        </p:nvSpPr>
        <p:spPr>
          <a:xfrm>
            <a:off x="594979" y="2981516"/>
            <a:ext cx="855584" cy="36576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a:solidFill>
                  <a:schemeClr val="bg1"/>
                </a:solidFill>
                <a:cs typeface="Arial"/>
              </a:rPr>
              <a:t>Year ahead</a:t>
            </a:r>
            <a:endParaRPr lang="en-GB" sz="1000">
              <a:solidFill>
                <a:schemeClr val="tx1"/>
              </a:solidFill>
              <a:cs typeface="Arial" panose="020B0604020202020204" pitchFamily="34" charset="0"/>
            </a:endParaRPr>
          </a:p>
        </p:txBody>
      </p:sp>
      <p:sp>
        <p:nvSpPr>
          <p:cNvPr id="23" name="Rectangle: Rounded Corners 22">
            <a:extLst>
              <a:ext uri="{FF2B5EF4-FFF2-40B4-BE49-F238E27FC236}">
                <a16:creationId xmlns:a16="http://schemas.microsoft.com/office/drawing/2014/main" id="{73747862-EF42-348F-CDB9-496D1B06BEE9}"/>
              </a:ext>
            </a:extLst>
          </p:cNvPr>
          <p:cNvSpPr/>
          <p:nvPr/>
        </p:nvSpPr>
        <p:spPr>
          <a:xfrm>
            <a:off x="594979" y="3623976"/>
            <a:ext cx="855584" cy="36576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a:solidFill>
                  <a:schemeClr val="bg1"/>
                </a:solidFill>
                <a:cs typeface="Arial"/>
              </a:rPr>
              <a:t>3 months ahead</a:t>
            </a:r>
            <a:endParaRPr lang="en-GB" sz="1000">
              <a:solidFill>
                <a:schemeClr val="tx1"/>
              </a:solidFill>
              <a:cs typeface="Arial" panose="020B0604020202020204" pitchFamily="34" charset="0"/>
            </a:endParaRPr>
          </a:p>
        </p:txBody>
      </p:sp>
      <p:sp>
        <p:nvSpPr>
          <p:cNvPr id="24" name="Rectangle: Rounded Corners 23">
            <a:extLst>
              <a:ext uri="{FF2B5EF4-FFF2-40B4-BE49-F238E27FC236}">
                <a16:creationId xmlns:a16="http://schemas.microsoft.com/office/drawing/2014/main" id="{7FB4E9EB-AD9E-1483-5FCE-32E7B1847CB6}"/>
              </a:ext>
            </a:extLst>
          </p:cNvPr>
          <p:cNvSpPr/>
          <p:nvPr/>
        </p:nvSpPr>
        <p:spPr>
          <a:xfrm>
            <a:off x="594979" y="4342637"/>
            <a:ext cx="855584" cy="36576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a:solidFill>
                  <a:schemeClr val="bg1"/>
                </a:solidFill>
                <a:cs typeface="Arial"/>
              </a:rPr>
              <a:t>2 months ahead</a:t>
            </a:r>
            <a:endParaRPr lang="en-GB" sz="1000">
              <a:solidFill>
                <a:schemeClr val="tx1"/>
              </a:solidFill>
              <a:cs typeface="Arial" panose="020B0604020202020204" pitchFamily="34" charset="0"/>
            </a:endParaRPr>
          </a:p>
        </p:txBody>
      </p:sp>
      <p:sp>
        <p:nvSpPr>
          <p:cNvPr id="25" name="Rectangle: Rounded Corners 24">
            <a:extLst>
              <a:ext uri="{FF2B5EF4-FFF2-40B4-BE49-F238E27FC236}">
                <a16:creationId xmlns:a16="http://schemas.microsoft.com/office/drawing/2014/main" id="{F1253F6A-139D-8C74-3862-C4FA5CAD0030}"/>
              </a:ext>
            </a:extLst>
          </p:cNvPr>
          <p:cNvSpPr/>
          <p:nvPr/>
        </p:nvSpPr>
        <p:spPr>
          <a:xfrm>
            <a:off x="594979" y="5099872"/>
            <a:ext cx="855584" cy="36576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a:solidFill>
                  <a:schemeClr val="bg1"/>
                </a:solidFill>
                <a:cs typeface="Arial"/>
              </a:rPr>
              <a:t>1 month ahead</a:t>
            </a:r>
            <a:endParaRPr lang="en-GB" sz="1000">
              <a:solidFill>
                <a:schemeClr val="tx1"/>
              </a:solidFill>
              <a:cs typeface="Arial" panose="020B0604020202020204" pitchFamily="34" charset="0"/>
            </a:endParaRPr>
          </a:p>
        </p:txBody>
      </p:sp>
      <p:sp>
        <p:nvSpPr>
          <p:cNvPr id="26" name="Rectangle: Rounded Corners 25">
            <a:extLst>
              <a:ext uri="{FF2B5EF4-FFF2-40B4-BE49-F238E27FC236}">
                <a16:creationId xmlns:a16="http://schemas.microsoft.com/office/drawing/2014/main" id="{E31D890A-DF54-EFF6-032D-1D67EACDD325}"/>
              </a:ext>
            </a:extLst>
          </p:cNvPr>
          <p:cNvSpPr/>
          <p:nvPr/>
        </p:nvSpPr>
        <p:spPr>
          <a:xfrm>
            <a:off x="594979" y="5627543"/>
            <a:ext cx="855584" cy="36576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a:solidFill>
                  <a:schemeClr val="bg1"/>
                </a:solidFill>
                <a:cs typeface="Arial"/>
              </a:rPr>
              <a:t>Horizon Scan due</a:t>
            </a:r>
            <a:endParaRPr lang="en-GB" sz="1000">
              <a:solidFill>
                <a:schemeClr val="tx1"/>
              </a:solidFill>
              <a:cs typeface="Arial" panose="020B0604020202020204" pitchFamily="34" charset="0"/>
            </a:endParaRPr>
          </a:p>
        </p:txBody>
      </p:sp>
      <p:cxnSp>
        <p:nvCxnSpPr>
          <p:cNvPr id="28" name="Straight Arrow Connector 27">
            <a:extLst>
              <a:ext uri="{FF2B5EF4-FFF2-40B4-BE49-F238E27FC236}">
                <a16:creationId xmlns:a16="http://schemas.microsoft.com/office/drawing/2014/main" id="{48B09AD3-CE7F-EBD1-D54C-20E5C88F8803}"/>
              </a:ext>
            </a:extLst>
          </p:cNvPr>
          <p:cNvCxnSpPr>
            <a:cxnSpLocks/>
            <a:stCxn id="22" idx="2"/>
            <a:endCxn id="23" idx="0"/>
          </p:cNvCxnSpPr>
          <p:nvPr/>
        </p:nvCxnSpPr>
        <p:spPr>
          <a:xfrm>
            <a:off x="1022771" y="3347276"/>
            <a:ext cx="0" cy="276700"/>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32" name="Straight Arrow Connector 31">
            <a:extLst>
              <a:ext uri="{FF2B5EF4-FFF2-40B4-BE49-F238E27FC236}">
                <a16:creationId xmlns:a16="http://schemas.microsoft.com/office/drawing/2014/main" id="{4C565926-ACF3-C7FE-4387-94AD0D6A102E}"/>
              </a:ext>
            </a:extLst>
          </p:cNvPr>
          <p:cNvCxnSpPr>
            <a:cxnSpLocks/>
            <a:stCxn id="23" idx="2"/>
            <a:endCxn id="24" idx="0"/>
          </p:cNvCxnSpPr>
          <p:nvPr/>
        </p:nvCxnSpPr>
        <p:spPr>
          <a:xfrm>
            <a:off x="1022771" y="3989736"/>
            <a:ext cx="0" cy="352901"/>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35" name="Straight Arrow Connector 34">
            <a:extLst>
              <a:ext uri="{FF2B5EF4-FFF2-40B4-BE49-F238E27FC236}">
                <a16:creationId xmlns:a16="http://schemas.microsoft.com/office/drawing/2014/main" id="{13EEBFBD-B836-6DBE-DC2A-E2E0F22E4015}"/>
              </a:ext>
            </a:extLst>
          </p:cNvPr>
          <p:cNvCxnSpPr>
            <a:cxnSpLocks/>
            <a:stCxn id="24" idx="2"/>
            <a:endCxn id="25" idx="0"/>
          </p:cNvCxnSpPr>
          <p:nvPr/>
        </p:nvCxnSpPr>
        <p:spPr>
          <a:xfrm>
            <a:off x="1022771" y="4708397"/>
            <a:ext cx="0" cy="391475"/>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38" name="Straight Arrow Connector 37">
            <a:extLst>
              <a:ext uri="{FF2B5EF4-FFF2-40B4-BE49-F238E27FC236}">
                <a16:creationId xmlns:a16="http://schemas.microsoft.com/office/drawing/2014/main" id="{07967F9A-7689-2098-5026-128B8C8B68C8}"/>
              </a:ext>
            </a:extLst>
          </p:cNvPr>
          <p:cNvCxnSpPr>
            <a:cxnSpLocks/>
            <a:stCxn id="25" idx="2"/>
            <a:endCxn id="26" idx="0"/>
          </p:cNvCxnSpPr>
          <p:nvPr/>
        </p:nvCxnSpPr>
        <p:spPr>
          <a:xfrm>
            <a:off x="1022771" y="5465632"/>
            <a:ext cx="0" cy="161911"/>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42" name="Connector: Elbow 41">
            <a:extLst>
              <a:ext uri="{FF2B5EF4-FFF2-40B4-BE49-F238E27FC236}">
                <a16:creationId xmlns:a16="http://schemas.microsoft.com/office/drawing/2014/main" id="{D80C5344-4E8F-D47F-6F92-ED9281EA38FA}"/>
              </a:ext>
            </a:extLst>
          </p:cNvPr>
          <p:cNvCxnSpPr>
            <a:cxnSpLocks/>
            <a:stCxn id="26" idx="2"/>
          </p:cNvCxnSpPr>
          <p:nvPr/>
        </p:nvCxnSpPr>
        <p:spPr>
          <a:xfrm rot="5400000" flipH="1">
            <a:off x="-207270" y="4763262"/>
            <a:ext cx="1650666" cy="809416"/>
          </a:xfrm>
          <a:prstGeom prst="bentConnector3">
            <a:avLst>
              <a:gd name="adj1" fmla="val -13849"/>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45" name="Connector: Elbow 44">
            <a:extLst>
              <a:ext uri="{FF2B5EF4-FFF2-40B4-BE49-F238E27FC236}">
                <a16:creationId xmlns:a16="http://schemas.microsoft.com/office/drawing/2014/main" id="{08B44111-A6C2-31E3-1F76-D80D439CC944}"/>
              </a:ext>
            </a:extLst>
          </p:cNvPr>
          <p:cNvCxnSpPr>
            <a:cxnSpLocks/>
          </p:cNvCxnSpPr>
          <p:nvPr/>
        </p:nvCxnSpPr>
        <p:spPr>
          <a:xfrm rot="5400000" flipH="1" flipV="1">
            <a:off x="-79476" y="3276102"/>
            <a:ext cx="1392744" cy="807083"/>
          </a:xfrm>
          <a:prstGeom prst="bentConnector3">
            <a:avLst>
              <a:gd name="adj1" fmla="val 117022"/>
            </a:avLst>
          </a:prstGeom>
          <a:ln w="28575">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290690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519698-E495-6240-D8AB-FE2C105199C6}"/>
              </a:ext>
            </a:extLst>
          </p:cNvPr>
          <p:cNvGraphicFramePr>
            <a:graphicFrameLocks noChangeAspect="1"/>
          </p:cNvGraphicFramePr>
          <p:nvPr>
            <p:custDataLst>
              <p:tags r:id="rId1"/>
            </p:custDataLst>
            <p:extLst>
              <p:ext uri="{D42A27DB-BD31-4B8C-83A1-F6EECF244321}">
                <p14:modId xmlns:p14="http://schemas.microsoft.com/office/powerpoint/2010/main" val="3811134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4" name="think-cell data - do not delete" hidden="1">
                        <a:extLst>
                          <a:ext uri="{FF2B5EF4-FFF2-40B4-BE49-F238E27FC236}">
                            <a16:creationId xmlns:a16="http://schemas.microsoft.com/office/drawing/2014/main" id="{25519698-E495-6240-D8AB-FE2C105199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B24421-F168-2300-4C4E-2736B41B7FC2}"/>
              </a:ext>
            </a:extLst>
          </p:cNvPr>
          <p:cNvSpPr>
            <a:spLocks noGrp="1"/>
          </p:cNvSpPr>
          <p:nvPr>
            <p:ph type="title"/>
          </p:nvPr>
        </p:nvSpPr>
        <p:spPr/>
        <p:txBody>
          <a:bodyPr vert="horz"/>
          <a:lstStyle/>
          <a:p>
            <a:r>
              <a:rPr lang="en-US"/>
              <a:t>Horizon Scan Coverage</a:t>
            </a:r>
          </a:p>
        </p:txBody>
      </p:sp>
      <p:sp>
        <p:nvSpPr>
          <p:cNvPr id="3" name="Content Placeholder 2">
            <a:extLst>
              <a:ext uri="{FF2B5EF4-FFF2-40B4-BE49-F238E27FC236}">
                <a16:creationId xmlns:a16="http://schemas.microsoft.com/office/drawing/2014/main" id="{943CB55F-95F1-2D12-AC66-6BC553690626}"/>
              </a:ext>
            </a:extLst>
          </p:cNvPr>
          <p:cNvSpPr>
            <a:spLocks noGrp="1"/>
          </p:cNvSpPr>
          <p:nvPr>
            <p:ph idx="1"/>
          </p:nvPr>
        </p:nvSpPr>
        <p:spPr>
          <a:xfrm>
            <a:off x="466958" y="1412868"/>
            <a:ext cx="11304127" cy="523220"/>
          </a:xfrm>
        </p:spPr>
        <p:txBody>
          <a:bodyPr>
            <a:normAutofit/>
          </a:bodyPr>
          <a:lstStyle/>
          <a:p>
            <a:pPr marL="0" indent="0" algn="ctr">
              <a:buNone/>
            </a:pPr>
            <a:r>
              <a:rPr lang="en-US" sz="1400"/>
              <a:t>As well as an overview of the current state of heat network deployment in the UK, the Horizon Scan covers two main areas.</a:t>
            </a:r>
          </a:p>
        </p:txBody>
      </p:sp>
      <p:sp>
        <p:nvSpPr>
          <p:cNvPr id="5" name="Rectangle: Rounded Corners 4">
            <a:extLst>
              <a:ext uri="{FF2B5EF4-FFF2-40B4-BE49-F238E27FC236}">
                <a16:creationId xmlns:a16="http://schemas.microsoft.com/office/drawing/2014/main" id="{E4950D11-A331-3411-48C0-7BA73A9B0992}"/>
              </a:ext>
            </a:extLst>
          </p:cNvPr>
          <p:cNvSpPr/>
          <p:nvPr/>
        </p:nvSpPr>
        <p:spPr>
          <a:xfrm>
            <a:off x="2543961" y="3527125"/>
            <a:ext cx="3200400" cy="2011680"/>
          </a:xfrm>
          <a:prstGeom prst="roundRect">
            <a:avLst/>
          </a:prstGeom>
          <a:solidFill>
            <a:schemeClr val="accent2">
              <a:lumMod val="20000"/>
              <a:lumOff val="80000"/>
            </a:schemeClr>
          </a:solidFill>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dirty="0">
                <a:solidFill>
                  <a:schemeClr val="tx1"/>
                </a:solidFill>
                <a:cs typeface="Arial"/>
              </a:rPr>
              <a:t>This includes the following:</a:t>
            </a:r>
          </a:p>
          <a:p>
            <a:endParaRPr lang="en-US" sz="1200" dirty="0">
              <a:solidFill>
                <a:schemeClr val="tx1"/>
              </a:solidFill>
              <a:cs typeface="Arial"/>
            </a:endParaRPr>
          </a:p>
          <a:p>
            <a:pPr marL="171450" indent="-171450">
              <a:buFont typeface="Arial" panose="020B0604020202020204" pitchFamily="34" charset="0"/>
              <a:buChar char="•"/>
            </a:pPr>
            <a:r>
              <a:rPr lang="en-US" sz="1200" dirty="0">
                <a:solidFill>
                  <a:schemeClr val="tx1"/>
                </a:solidFill>
                <a:cs typeface="Arial"/>
              </a:rPr>
              <a:t>The scope and themes of projects covered</a:t>
            </a:r>
          </a:p>
          <a:p>
            <a:pPr marL="171450" indent="-171450">
              <a:buFont typeface="Arial" panose="020B0604020202020204" pitchFamily="34" charset="0"/>
              <a:buChar char="•"/>
            </a:pPr>
            <a:r>
              <a:rPr lang="en-US" sz="1200" dirty="0">
                <a:solidFill>
                  <a:schemeClr val="tx1"/>
                </a:solidFill>
                <a:cs typeface="Arial"/>
              </a:rPr>
              <a:t>A list of the projects covered (17 in this iteration) </a:t>
            </a:r>
          </a:p>
          <a:p>
            <a:pPr marL="171450" indent="-171450">
              <a:buFont typeface="Arial" panose="020B0604020202020204" pitchFamily="34" charset="0"/>
              <a:buChar char="•"/>
            </a:pPr>
            <a:r>
              <a:rPr lang="en-US" sz="1200" dirty="0">
                <a:solidFill>
                  <a:schemeClr val="tx1"/>
                </a:solidFill>
                <a:cs typeface="Arial"/>
              </a:rPr>
              <a:t>Project deep dives for more information</a:t>
            </a:r>
            <a:endParaRPr lang="en-GB" sz="1200" dirty="0">
              <a:solidFill>
                <a:schemeClr val="tx1"/>
              </a:solidFill>
              <a:cs typeface="Arial"/>
            </a:endParaRPr>
          </a:p>
        </p:txBody>
      </p:sp>
      <p:sp>
        <p:nvSpPr>
          <p:cNvPr id="6" name="Rectangle: Rounded Corners 5">
            <a:extLst>
              <a:ext uri="{FF2B5EF4-FFF2-40B4-BE49-F238E27FC236}">
                <a16:creationId xmlns:a16="http://schemas.microsoft.com/office/drawing/2014/main" id="{2FD31908-6776-6F5F-9BDA-0A4A9D86728F}"/>
              </a:ext>
            </a:extLst>
          </p:cNvPr>
          <p:cNvSpPr/>
          <p:nvPr/>
        </p:nvSpPr>
        <p:spPr>
          <a:xfrm>
            <a:off x="6438403" y="3527125"/>
            <a:ext cx="3200400" cy="2011680"/>
          </a:xfrm>
          <a:prstGeom prst="roundRect">
            <a:avLst/>
          </a:prstGeom>
          <a:solidFill>
            <a:schemeClr val="accent2">
              <a:lumMod val="20000"/>
              <a:lumOff val="80000"/>
            </a:schemeClr>
          </a:solidFill>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a:solidFill>
                  <a:schemeClr val="tx1"/>
                </a:solidFill>
                <a:cs typeface="Arial"/>
              </a:rPr>
              <a:t>This includes the following:</a:t>
            </a:r>
          </a:p>
          <a:p>
            <a:endParaRPr lang="en-US" sz="1200">
              <a:solidFill>
                <a:schemeClr val="tx1"/>
              </a:solidFill>
              <a:cs typeface="Arial"/>
            </a:endParaRPr>
          </a:p>
          <a:p>
            <a:pPr marL="171450" indent="-171450">
              <a:buFont typeface="Arial" panose="020B0604020202020204" pitchFamily="34" charset="0"/>
              <a:buChar char="•"/>
            </a:pPr>
            <a:r>
              <a:rPr lang="en-US" sz="1200">
                <a:solidFill>
                  <a:schemeClr val="tx1"/>
                </a:solidFill>
                <a:cs typeface="Arial"/>
              </a:rPr>
              <a:t>Current and upcoming heat network regulations and policies</a:t>
            </a:r>
          </a:p>
          <a:p>
            <a:pPr marL="171450" indent="-171450">
              <a:buFont typeface="Arial" panose="020B0604020202020204" pitchFamily="34" charset="0"/>
              <a:buChar char="•"/>
            </a:pPr>
            <a:r>
              <a:rPr lang="en-US" sz="1200">
                <a:solidFill>
                  <a:schemeClr val="tx1"/>
                </a:solidFill>
                <a:cs typeface="Arial"/>
              </a:rPr>
              <a:t>Past, present and upcoming heat network consultations</a:t>
            </a:r>
          </a:p>
          <a:p>
            <a:pPr marL="171450" indent="-171450">
              <a:buFont typeface="Arial" panose="020B0604020202020204" pitchFamily="34" charset="0"/>
              <a:buChar char="•"/>
            </a:pPr>
            <a:r>
              <a:rPr lang="en-US" sz="1200">
                <a:solidFill>
                  <a:schemeClr val="tx1"/>
                </a:solidFill>
                <a:cs typeface="Arial"/>
              </a:rPr>
              <a:t>Heat network funding schemes</a:t>
            </a:r>
          </a:p>
        </p:txBody>
      </p:sp>
      <p:sp>
        <p:nvSpPr>
          <p:cNvPr id="7" name="Rectangle: Rounded Corners 6">
            <a:extLst>
              <a:ext uri="{FF2B5EF4-FFF2-40B4-BE49-F238E27FC236}">
                <a16:creationId xmlns:a16="http://schemas.microsoft.com/office/drawing/2014/main" id="{3D727423-4BA4-DEDF-6D3F-388E8D6FB7D5}"/>
              </a:ext>
            </a:extLst>
          </p:cNvPr>
          <p:cNvSpPr/>
          <p:nvPr/>
        </p:nvSpPr>
        <p:spPr>
          <a:xfrm>
            <a:off x="2543961" y="2817165"/>
            <a:ext cx="3200400" cy="42062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chemeClr val="bg1"/>
                </a:solidFill>
                <a:cs typeface="Arial"/>
              </a:rPr>
              <a:t>Innovation projects from the UK and abroad</a:t>
            </a:r>
            <a:endParaRPr lang="en-GB" sz="1000">
              <a:solidFill>
                <a:schemeClr val="tx1"/>
              </a:solidFill>
              <a:cs typeface="Arial" panose="020B0604020202020204" pitchFamily="34" charset="0"/>
            </a:endParaRPr>
          </a:p>
        </p:txBody>
      </p:sp>
      <p:sp>
        <p:nvSpPr>
          <p:cNvPr id="8" name="Rectangle: Rounded Corners 7">
            <a:extLst>
              <a:ext uri="{FF2B5EF4-FFF2-40B4-BE49-F238E27FC236}">
                <a16:creationId xmlns:a16="http://schemas.microsoft.com/office/drawing/2014/main" id="{4B785586-647C-D78E-5556-97779A4850BC}"/>
              </a:ext>
            </a:extLst>
          </p:cNvPr>
          <p:cNvSpPr/>
          <p:nvPr/>
        </p:nvSpPr>
        <p:spPr>
          <a:xfrm>
            <a:off x="6438403" y="2817165"/>
            <a:ext cx="3200400" cy="42062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chemeClr val="bg1"/>
                </a:solidFill>
                <a:cs typeface="Arial"/>
              </a:rPr>
              <a:t>UK policy and regulation</a:t>
            </a:r>
            <a:endParaRPr lang="en-GB" sz="1000">
              <a:solidFill>
                <a:schemeClr val="tx1"/>
              </a:solidFill>
              <a:cs typeface="Arial" panose="020B0604020202020204" pitchFamily="34" charset="0"/>
            </a:endParaRPr>
          </a:p>
        </p:txBody>
      </p:sp>
      <p:cxnSp>
        <p:nvCxnSpPr>
          <p:cNvPr id="10" name="Straight Arrow Connector 9">
            <a:extLst>
              <a:ext uri="{FF2B5EF4-FFF2-40B4-BE49-F238E27FC236}">
                <a16:creationId xmlns:a16="http://schemas.microsoft.com/office/drawing/2014/main" id="{99476D09-F47C-2B93-4A95-6C5E324721C8}"/>
              </a:ext>
            </a:extLst>
          </p:cNvPr>
          <p:cNvCxnSpPr>
            <a:cxnSpLocks/>
            <a:stCxn id="3" idx="2"/>
            <a:endCxn id="7" idx="0"/>
          </p:cNvCxnSpPr>
          <p:nvPr/>
        </p:nvCxnSpPr>
        <p:spPr>
          <a:xfrm flipH="1">
            <a:off x="4144161" y="1936088"/>
            <a:ext cx="1974861" cy="881077"/>
          </a:xfrm>
          <a:prstGeom prst="straightConnector1">
            <a:avLst/>
          </a:prstGeom>
          <a:ln w="38100">
            <a:solidFill>
              <a:schemeClr val="tx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C31A6DDC-183A-1DA0-190B-775AFDC5B6B4}"/>
              </a:ext>
            </a:extLst>
          </p:cNvPr>
          <p:cNvCxnSpPr>
            <a:cxnSpLocks/>
            <a:stCxn id="3" idx="2"/>
            <a:endCxn id="8" idx="0"/>
          </p:cNvCxnSpPr>
          <p:nvPr/>
        </p:nvCxnSpPr>
        <p:spPr>
          <a:xfrm>
            <a:off x="6119022" y="1936088"/>
            <a:ext cx="1919581" cy="881077"/>
          </a:xfrm>
          <a:prstGeom prst="straightConnector1">
            <a:avLst/>
          </a:prstGeom>
          <a:ln w="38100">
            <a:solidFill>
              <a:schemeClr val="tx1"/>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741828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A796E-FA92-75BB-0670-6AB894D9738E}"/>
              </a:ext>
            </a:extLst>
          </p:cNvPr>
          <p:cNvSpPr txBox="1">
            <a:spLocks/>
          </p:cNvSpPr>
          <p:nvPr/>
        </p:nvSpPr>
        <p:spPr>
          <a:xfrm>
            <a:off x="370917" y="4071740"/>
            <a:ext cx="11388692" cy="551591"/>
          </a:xfrm>
          <a:prstGeom prst="rect">
            <a:avLst/>
          </a:prstGeom>
        </p:spPr>
        <p:txBody>
          <a:bodyPr vert="horz" anchor="t"/>
          <a:lstStyle>
            <a:lvl1pPr marL="0" marR="0" indent="0" algn="l" defTabSz="914400" rtl="0" eaLnBrk="1" fontAlgn="auto" latinLnBrk="0" hangingPunct="1">
              <a:lnSpc>
                <a:spcPct val="100000"/>
              </a:lnSpc>
              <a:spcBef>
                <a:spcPts val="0"/>
              </a:spcBef>
              <a:spcAft>
                <a:spcPts val="0"/>
              </a:spcAft>
              <a:buClrTx/>
              <a:buSzTx/>
              <a:buFontTx/>
              <a:buNone/>
              <a:tabLst/>
              <a:defRPr sz="4400" kern="1200">
                <a:solidFill>
                  <a:schemeClr val="tx1"/>
                </a:solidFill>
                <a:latin typeface="+mj-lt"/>
                <a:ea typeface="+mj-ea"/>
                <a:cs typeface="+mj-cs"/>
              </a:defRPr>
            </a:lvl1pPr>
          </a:lstStyle>
          <a:p>
            <a:r>
              <a:rPr lang="en-GB" sz="3200" b="1">
                <a:solidFill>
                  <a:schemeClr val="bg1"/>
                </a:solidFill>
                <a:latin typeface="Arial"/>
                <a:cs typeface="Arial"/>
              </a:rPr>
              <a:t>Heat Network Deployment</a:t>
            </a:r>
            <a:endParaRPr lang="en-GB" sz="3200" b="1">
              <a:solidFill>
                <a:schemeClr val="bg1"/>
              </a:solidFill>
            </a:endParaRPr>
          </a:p>
        </p:txBody>
      </p:sp>
    </p:spTree>
    <p:extLst>
      <p:ext uri="{BB962C8B-B14F-4D97-AF65-F5344CB8AC3E}">
        <p14:creationId xmlns:p14="http://schemas.microsoft.com/office/powerpoint/2010/main" val="15544846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C9CD903-CD96-9E5B-E2E7-D7103FDE4499}"/>
              </a:ext>
            </a:extLst>
          </p:cNvPr>
          <p:cNvGraphicFramePr>
            <a:graphicFrameLocks noChangeAspect="1"/>
          </p:cNvGraphicFramePr>
          <p:nvPr>
            <p:custDataLst>
              <p:tags r:id="rId1"/>
            </p:custDataLst>
            <p:extLst>
              <p:ext uri="{D42A27DB-BD31-4B8C-83A1-F6EECF244321}">
                <p14:modId xmlns:p14="http://schemas.microsoft.com/office/powerpoint/2010/main" val="3559369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26" imgH="426" progId="TCLayout.ActiveDocument.1">
                  <p:embed/>
                </p:oleObj>
              </mc:Choice>
              <mc:Fallback>
                <p:oleObj name="think-cell Slide" r:id="rId13" imgW="426" imgH="426" progId="TCLayout.ActiveDocument.1">
                  <p:embed/>
                  <p:pic>
                    <p:nvPicPr>
                      <p:cNvPr id="6" name="think-cell data - do not delete" hidden="1">
                        <a:extLst>
                          <a:ext uri="{FF2B5EF4-FFF2-40B4-BE49-F238E27FC236}">
                            <a16:creationId xmlns:a16="http://schemas.microsoft.com/office/drawing/2014/main" id="{EC9CD903-CD96-9E5B-E2E7-D7103FDE449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B78333-CF95-917C-3E18-EF37D44B29BD}"/>
              </a:ext>
            </a:extLst>
          </p:cNvPr>
          <p:cNvSpPr>
            <a:spLocks noGrp="1"/>
          </p:cNvSpPr>
          <p:nvPr>
            <p:ph type="title"/>
          </p:nvPr>
        </p:nvSpPr>
        <p:spPr/>
        <p:txBody>
          <a:bodyPr vert="horz"/>
          <a:lstStyle/>
          <a:p>
            <a:r>
              <a:rPr lang="en-US"/>
              <a:t>Current State</a:t>
            </a:r>
          </a:p>
        </p:txBody>
      </p:sp>
      <p:sp>
        <p:nvSpPr>
          <p:cNvPr id="3" name="Content Placeholder 2">
            <a:extLst>
              <a:ext uri="{FF2B5EF4-FFF2-40B4-BE49-F238E27FC236}">
                <a16:creationId xmlns:a16="http://schemas.microsoft.com/office/drawing/2014/main" id="{9436DE67-484B-5EB0-5A70-702A269569D1}"/>
              </a:ext>
            </a:extLst>
          </p:cNvPr>
          <p:cNvSpPr>
            <a:spLocks noGrp="1"/>
          </p:cNvSpPr>
          <p:nvPr>
            <p:ph idx="1"/>
          </p:nvPr>
        </p:nvSpPr>
        <p:spPr>
          <a:xfrm>
            <a:off x="466958" y="1412867"/>
            <a:ext cx="6211896" cy="2629238"/>
          </a:xfrm>
        </p:spPr>
        <p:txBody>
          <a:bodyPr>
            <a:normAutofit lnSpcReduction="10000"/>
          </a:bodyPr>
          <a:lstStyle/>
          <a:p>
            <a:pPr marL="0" indent="0" algn="just">
              <a:buNone/>
            </a:pPr>
            <a:r>
              <a:rPr lang="en-US" sz="1200"/>
              <a:t>There are currently approximately </a:t>
            </a:r>
            <a:r>
              <a:rPr lang="en-US" sz="1200" b="1"/>
              <a:t>14,000 heat networks </a:t>
            </a:r>
            <a:r>
              <a:rPr lang="en-US" sz="1200"/>
              <a:t>in the UK, providing heat to approximately </a:t>
            </a:r>
            <a:r>
              <a:rPr lang="en-US" sz="1200" b="1"/>
              <a:t>480,000 consumers</a:t>
            </a:r>
            <a:r>
              <a:rPr lang="en-US" sz="1200"/>
              <a:t>, or approximately </a:t>
            </a:r>
            <a:r>
              <a:rPr lang="en-US" sz="1200" b="1"/>
              <a:t>3% of the UK’s current heat demand</a:t>
            </a:r>
            <a:r>
              <a:rPr lang="en-US" sz="1200"/>
              <a:t>. According to the ADE, ~91% of the UK’s heat networks are in England, and ~6% are in Scotland.</a:t>
            </a:r>
            <a:endParaRPr lang="en-US" sz="1200" b="1"/>
          </a:p>
          <a:p>
            <a:pPr marL="0" indent="0" algn="just">
              <a:buNone/>
            </a:pPr>
            <a:r>
              <a:rPr lang="en-US" sz="1200"/>
              <a:t>This data dates from 2018, when DESNZ (then known as BEIS) commissioned The National Measurement and Regulation Office to collect and </a:t>
            </a:r>
            <a:r>
              <a:rPr lang="en-US" sz="1200" err="1"/>
              <a:t>analyse</a:t>
            </a:r>
            <a:r>
              <a:rPr lang="en-US" sz="1200"/>
              <a:t> the data submitted by heat network suppliers when the Heat Network (Metering and Billing) Regulations came into force in 2014. Updated statistics from the reporting requirements have not been published since that report. It is interesting to note that </a:t>
            </a:r>
            <a:r>
              <a:rPr lang="en-US" sz="1200" b="1"/>
              <a:t>3,000 notifications were excluded</a:t>
            </a:r>
            <a:r>
              <a:rPr lang="en-US" sz="1200"/>
              <a:t> due to missing data, suggesting the 14,000 number is an underestimate, and the actual number may be closer to 17,000.</a:t>
            </a:r>
          </a:p>
          <a:p>
            <a:pPr marL="0" indent="0" algn="just">
              <a:buNone/>
            </a:pPr>
            <a:r>
              <a:rPr lang="en-US" sz="1200"/>
              <a:t>The most frequently updated data source is DESNZ’s </a:t>
            </a:r>
            <a:r>
              <a:rPr lang="en-US" sz="1200" b="1"/>
              <a:t>Heat Networks Planning Database</a:t>
            </a:r>
            <a:r>
              <a:rPr lang="en-US" sz="1200"/>
              <a:t>, which is updated on a quarterly basis and tracks the progress of communal and district heat networks from inception to planning, construction, operation and decommissioning. The database has been going since 2021 and the most recent version contains 1100 rows, less than 10% of the total number of heat networks in the UK</a:t>
            </a:r>
          </a:p>
        </p:txBody>
      </p:sp>
      <p:sp>
        <p:nvSpPr>
          <p:cNvPr id="4" name="Slide Number Placeholder 3">
            <a:extLst>
              <a:ext uri="{FF2B5EF4-FFF2-40B4-BE49-F238E27FC236}">
                <a16:creationId xmlns:a16="http://schemas.microsoft.com/office/drawing/2014/main" id="{DECCDBCD-21D9-E7AA-D927-60B437E6E24B}"/>
              </a:ext>
            </a:extLst>
          </p:cNvPr>
          <p:cNvSpPr>
            <a:spLocks noGrp="1"/>
          </p:cNvSpPr>
          <p:nvPr>
            <p:ph type="sldNum" sz="quarter" idx="12"/>
          </p:nvPr>
        </p:nvSpPr>
        <p:spPr/>
        <p:txBody>
          <a:bodyPr/>
          <a:lstStyle/>
          <a:p>
            <a:fld id="{72F17264-F1F8-414E-A9D5-4C122FDA0C8E}" type="slidenum">
              <a:rPr lang="en-GB" smtClean="0"/>
              <a:t>8</a:t>
            </a:fld>
            <a:endParaRPr lang="en-GB"/>
          </a:p>
        </p:txBody>
      </p:sp>
      <p:sp>
        <p:nvSpPr>
          <p:cNvPr id="136" name="TextBox 135">
            <a:extLst>
              <a:ext uri="{FF2B5EF4-FFF2-40B4-BE49-F238E27FC236}">
                <a16:creationId xmlns:a16="http://schemas.microsoft.com/office/drawing/2014/main" id="{6A3651F8-99B5-EBC1-6977-6A3C397DF6AF}"/>
              </a:ext>
            </a:extLst>
          </p:cNvPr>
          <p:cNvSpPr txBox="1"/>
          <p:nvPr>
            <p:custDataLst>
              <p:tags r:id="rId2"/>
            </p:custDataLst>
          </p:nvPr>
        </p:nvSpPr>
        <p:spPr>
          <a:xfrm>
            <a:off x="604088" y="3914775"/>
            <a:ext cx="2286000" cy="276225"/>
          </a:xfrm>
          <a:prstGeom prst="rect">
            <a:avLst/>
          </a:prstGeom>
          <a:noFill/>
        </p:spPr>
        <p:txBody>
          <a:bodyPr wrap="square" rtlCol="0">
            <a:spAutoFit/>
          </a:bodyPr>
          <a:lstStyle/>
          <a:p>
            <a:r>
              <a:rPr lang="en-US" sz="1200" b="1">
                <a:solidFill>
                  <a:srgbClr val="9C1420"/>
                </a:solidFill>
              </a:rPr>
              <a:t>Split of heat network consumers</a:t>
            </a:r>
          </a:p>
        </p:txBody>
      </p:sp>
      <p:pic>
        <p:nvPicPr>
          <p:cNvPr id="144" name="Picture 143">
            <a:extLst>
              <a:ext uri="{FF2B5EF4-FFF2-40B4-BE49-F238E27FC236}">
                <a16:creationId xmlns:a16="http://schemas.microsoft.com/office/drawing/2014/main" id="{1E3C9D51-7838-C714-211A-2B74ECB86BCD}"/>
              </a:ext>
            </a:extLst>
          </p:cNvPr>
          <p:cNvPicPr>
            <a:picLocks noChangeAspect="1"/>
          </p:cNvPicPr>
          <p:nvPr/>
        </p:nvPicPr>
        <p:blipFill>
          <a:blip r:embed="rId15"/>
          <a:stretch>
            <a:fillRect/>
          </a:stretch>
        </p:blipFill>
        <p:spPr>
          <a:xfrm>
            <a:off x="6678854" y="964478"/>
            <a:ext cx="5092231" cy="5056371"/>
          </a:xfrm>
          <a:prstGeom prst="rect">
            <a:avLst/>
          </a:prstGeom>
        </p:spPr>
      </p:pic>
      <p:sp>
        <p:nvSpPr>
          <p:cNvPr id="145" name="TextBox 144">
            <a:extLst>
              <a:ext uri="{FF2B5EF4-FFF2-40B4-BE49-F238E27FC236}">
                <a16:creationId xmlns:a16="http://schemas.microsoft.com/office/drawing/2014/main" id="{B8D36A09-C47F-11C8-C3AE-4C8D5C7F88F3}"/>
              </a:ext>
            </a:extLst>
          </p:cNvPr>
          <p:cNvSpPr txBox="1"/>
          <p:nvPr/>
        </p:nvSpPr>
        <p:spPr>
          <a:xfrm>
            <a:off x="7200228" y="6138098"/>
            <a:ext cx="4049482" cy="276999"/>
          </a:xfrm>
          <a:prstGeom prst="rect">
            <a:avLst/>
          </a:prstGeom>
          <a:noFill/>
        </p:spPr>
        <p:txBody>
          <a:bodyPr wrap="square" rtlCol="0">
            <a:spAutoFit/>
          </a:bodyPr>
          <a:lstStyle/>
          <a:p>
            <a:r>
              <a:rPr lang="en-US" sz="1200" i="1"/>
              <a:t>Number of heat networks by local authority, source: </a:t>
            </a:r>
            <a:r>
              <a:rPr lang="en-US" sz="1200" i="1">
                <a:hlinkClick r:id="rId16"/>
              </a:rPr>
              <a:t>BEIS 2018</a:t>
            </a:r>
            <a:endParaRPr lang="en-US" sz="1200" i="1"/>
          </a:p>
        </p:txBody>
      </p:sp>
      <p:graphicFrame>
        <p:nvGraphicFramePr>
          <p:cNvPr id="11" name="Chart 10">
            <a:extLst>
              <a:ext uri="{FF2B5EF4-FFF2-40B4-BE49-F238E27FC236}">
                <a16:creationId xmlns:a16="http://schemas.microsoft.com/office/drawing/2014/main" id="{3EBF3E7B-D525-12CD-9E0E-992B30C76BBD}"/>
              </a:ext>
            </a:extLst>
          </p:cNvPr>
          <p:cNvGraphicFramePr/>
          <p:nvPr>
            <p:custDataLst>
              <p:tags r:id="rId3"/>
            </p:custDataLst>
            <p:extLst>
              <p:ext uri="{D42A27DB-BD31-4B8C-83A1-F6EECF244321}">
                <p14:modId xmlns:p14="http://schemas.microsoft.com/office/powerpoint/2010/main" val="2871836728"/>
              </p:ext>
            </p:extLst>
          </p:nvPr>
        </p:nvGraphicFramePr>
        <p:xfrm>
          <a:off x="3803650" y="4175125"/>
          <a:ext cx="1952625" cy="1952625"/>
        </p:xfrm>
        <a:graphic>
          <a:graphicData uri="http://schemas.openxmlformats.org/drawingml/2006/chart">
            <c:chart xmlns:c="http://schemas.openxmlformats.org/drawingml/2006/chart" xmlns:r="http://schemas.openxmlformats.org/officeDocument/2006/relationships" r:id="rId17"/>
          </a:graphicData>
        </a:graphic>
      </p:graphicFrame>
      <p:sp>
        <p:nvSpPr>
          <p:cNvPr id="229" name="Text Placeholder 2">
            <a:extLst>
              <a:ext uri="{FF2B5EF4-FFF2-40B4-BE49-F238E27FC236}">
                <a16:creationId xmlns:a16="http://schemas.microsoft.com/office/drawing/2014/main" id="{B066F999-EDD7-ED82-BADE-835F8F10FED9}"/>
              </a:ext>
            </a:extLst>
          </p:cNvPr>
          <p:cNvSpPr>
            <a:spLocks noGrp="1"/>
          </p:cNvSpPr>
          <p:nvPr>
            <p:custDataLst>
              <p:tags r:id="rId4"/>
            </p:custDataLst>
          </p:nvPr>
        </p:nvSpPr>
        <p:spPr bwMode="gray">
          <a:xfrm>
            <a:off x="4829175" y="5548313"/>
            <a:ext cx="47148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C19F38D-A6E0-498C-A141-3D46C6B26B0A}" type="datetime'''''''''11,9''''''''''''''''''0''8'''''">
              <a:rPr lang="en-US" altLang="en-US" sz="1200" smtClean="0"/>
              <a:pPr marL="0" lvl="0" indent="0" algn="ctr">
                <a:spcBef>
                  <a:spcPct val="0"/>
                </a:spcBef>
                <a:spcAft>
                  <a:spcPct val="0"/>
                </a:spcAft>
                <a:buNone/>
              </a:pPr>
              <a:t>11,908</a:t>
            </a:fld>
            <a:br>
              <a:rPr lang="en-US" altLang="en-US" sz="1200">
                <a:effectLst/>
              </a:rPr>
            </a:br>
            <a:r>
              <a:rPr lang="en-US" altLang="en-US" sz="1200">
                <a:effectLst/>
              </a:rPr>
              <a:t>(</a:t>
            </a:r>
            <a:fld id="{BD3FCA53-AEE3-4440-AC7A-6ABADC26500A}" type="datetime'''''''''''85''''''''''''''''''''''''''''''%'''''''''''''">
              <a:rPr lang="en-US" altLang="en-US" sz="1200" smtClean="0"/>
              <a:pPr marL="0" lvl="0" indent="0" algn="ctr">
                <a:spcBef>
                  <a:spcPct val="0"/>
                </a:spcBef>
                <a:spcAft>
                  <a:spcPct val="0"/>
                </a:spcAft>
                <a:buNone/>
              </a:pPr>
              <a:t>85%</a:t>
            </a:fld>
            <a:r>
              <a:rPr lang="en-US" altLang="en-US" sz="1200">
                <a:effectLst/>
              </a:rPr>
              <a:t>)</a:t>
            </a:r>
            <a:endParaRPr lang="en-US" sz="1200"/>
          </a:p>
        </p:txBody>
      </p:sp>
      <p:sp>
        <p:nvSpPr>
          <p:cNvPr id="223" name="Text Placeholder 2">
            <a:extLst>
              <a:ext uri="{FF2B5EF4-FFF2-40B4-BE49-F238E27FC236}">
                <a16:creationId xmlns:a16="http://schemas.microsoft.com/office/drawing/2014/main" id="{37616676-3CBC-C9CB-8ACF-9C71E095075D}"/>
              </a:ext>
            </a:extLst>
          </p:cNvPr>
          <p:cNvSpPr>
            <a:spLocks noGrp="1"/>
          </p:cNvSpPr>
          <p:nvPr>
            <p:custDataLst>
              <p:tags r:id="rId5"/>
            </p:custDataLst>
          </p:nvPr>
        </p:nvSpPr>
        <p:spPr bwMode="gray">
          <a:xfrm>
            <a:off x="4286250" y="4406900"/>
            <a:ext cx="40163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55EAF4-0FB5-4D00-9945-1FC2EBEE68D3}" type="datetime'''''''''2,''''''0''''''''''''''''''''''''''''''''''''8''7'''">
              <a:rPr lang="en-US" altLang="en-US" sz="1200" smtClean="0"/>
              <a:pPr marL="0" lvl="0" indent="0" algn="ctr">
                <a:spcBef>
                  <a:spcPct val="0"/>
                </a:spcBef>
                <a:spcAft>
                  <a:spcPct val="0"/>
                </a:spcAft>
                <a:buNone/>
              </a:pPr>
              <a:t>2,087</a:t>
            </a:fld>
            <a:br>
              <a:rPr lang="en-US" altLang="en-US" sz="1200">
                <a:effectLst/>
              </a:rPr>
            </a:br>
            <a:r>
              <a:rPr lang="en-US" altLang="en-US" sz="1200">
                <a:effectLst/>
              </a:rPr>
              <a:t>(</a:t>
            </a:r>
            <a:fld id="{A34AF08A-13CD-45AF-8E23-34E9A9AF0BCE}" type="datetime'''''''''''''''''''''1''''''''''''5''%'">
              <a:rPr lang="en-US" altLang="en-US" sz="1200" smtClean="0"/>
              <a:pPr marL="0" lvl="0" indent="0" algn="ctr">
                <a:spcBef>
                  <a:spcPct val="0"/>
                </a:spcBef>
                <a:spcAft>
                  <a:spcPct val="0"/>
                </a:spcAft>
                <a:buNone/>
              </a:pPr>
              <a:t>15%</a:t>
            </a:fld>
            <a:r>
              <a:rPr lang="en-US" altLang="en-US" sz="1200">
                <a:effectLst/>
              </a:rPr>
              <a:t>)</a:t>
            </a:r>
            <a:endParaRPr lang="en-US" sz="1200"/>
          </a:p>
        </p:txBody>
      </p:sp>
      <p:sp>
        <p:nvSpPr>
          <p:cNvPr id="237" name="Rectangle 236">
            <a:extLst>
              <a:ext uri="{FF2B5EF4-FFF2-40B4-BE49-F238E27FC236}">
                <a16:creationId xmlns:a16="http://schemas.microsoft.com/office/drawing/2014/main" id="{86E3387E-BA2D-B507-6A37-E019E0033896}"/>
              </a:ext>
            </a:extLst>
          </p:cNvPr>
          <p:cNvSpPr/>
          <p:nvPr>
            <p:custDataLst>
              <p:tags r:id="rId6"/>
            </p:custDataLst>
          </p:nvPr>
        </p:nvSpPr>
        <p:spPr bwMode="auto">
          <a:xfrm>
            <a:off x="3989388" y="612298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Rectangle 237">
            <a:extLst>
              <a:ext uri="{FF2B5EF4-FFF2-40B4-BE49-F238E27FC236}">
                <a16:creationId xmlns:a16="http://schemas.microsoft.com/office/drawing/2014/main" id="{3BCB2175-16B1-25F8-0995-8317479CCC3B}"/>
              </a:ext>
            </a:extLst>
          </p:cNvPr>
          <p:cNvSpPr/>
          <p:nvPr>
            <p:custDataLst>
              <p:tags r:id="rId7"/>
            </p:custDataLst>
          </p:nvPr>
        </p:nvSpPr>
        <p:spPr bwMode="auto">
          <a:xfrm>
            <a:off x="5029200" y="6122988"/>
            <a:ext cx="214313" cy="1603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Text Placeholder 2">
            <a:extLst>
              <a:ext uri="{FF2B5EF4-FFF2-40B4-BE49-F238E27FC236}">
                <a16:creationId xmlns:a16="http://schemas.microsoft.com/office/drawing/2014/main" id="{BE00A414-56D5-8F20-55AD-BF43E03E8041}"/>
              </a:ext>
            </a:extLst>
          </p:cNvPr>
          <p:cNvSpPr>
            <a:spLocks noGrp="1"/>
          </p:cNvSpPr>
          <p:nvPr>
            <p:custDataLst>
              <p:tags r:id="rId8"/>
            </p:custDataLst>
          </p:nvPr>
        </p:nvSpPr>
        <p:spPr bwMode="auto">
          <a:xfrm>
            <a:off x="4254500" y="6130925"/>
            <a:ext cx="6731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EE91BB8-1865-4063-BD9A-7458348B0D6E}" type="datetime'''''C''''''o''''''''''''''m''''''''''''m''''''''u''''na''l'''">
              <a:rPr lang="en-US" altLang="en-US" sz="1200" smtClean="0"/>
              <a:pPr marL="0" lvl="0" indent="0">
                <a:spcBef>
                  <a:spcPct val="0"/>
                </a:spcBef>
                <a:spcAft>
                  <a:spcPct val="0"/>
                </a:spcAft>
                <a:buNone/>
              </a:pPr>
              <a:t>Communal</a:t>
            </a:fld>
            <a:endParaRPr lang="en-US" sz="1200"/>
          </a:p>
        </p:txBody>
      </p:sp>
      <p:sp>
        <p:nvSpPr>
          <p:cNvPr id="202" name="Text Placeholder 2">
            <a:extLst>
              <a:ext uri="{FF2B5EF4-FFF2-40B4-BE49-F238E27FC236}">
                <a16:creationId xmlns:a16="http://schemas.microsoft.com/office/drawing/2014/main" id="{88A8E49B-D399-1F57-3B7F-CFD8BA47D15C}"/>
              </a:ext>
            </a:extLst>
          </p:cNvPr>
          <p:cNvSpPr>
            <a:spLocks noGrp="1"/>
          </p:cNvSpPr>
          <p:nvPr>
            <p:custDataLst>
              <p:tags r:id="rId9"/>
            </p:custDataLst>
          </p:nvPr>
        </p:nvSpPr>
        <p:spPr bwMode="auto">
          <a:xfrm>
            <a:off x="5294313" y="6130925"/>
            <a:ext cx="441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A64A70-A94B-48C5-89EA-470B64509E18}" type="datetime'''''D''''''''''i''''s''''''''''''''tr''''''''''''''''ict'''''">
              <a:rPr lang="en-US" altLang="en-US" sz="1200" smtClean="0"/>
              <a:pPr marL="0" lvl="0" indent="0">
                <a:spcBef>
                  <a:spcPct val="0"/>
                </a:spcBef>
                <a:spcAft>
                  <a:spcPct val="0"/>
                </a:spcAft>
                <a:buNone/>
              </a:pPr>
              <a:t>District</a:t>
            </a:fld>
            <a:endParaRPr lang="en-US" sz="1200"/>
          </a:p>
        </p:txBody>
      </p:sp>
      <p:graphicFrame>
        <p:nvGraphicFramePr>
          <p:cNvPr id="239" name="Table 238">
            <a:extLst>
              <a:ext uri="{FF2B5EF4-FFF2-40B4-BE49-F238E27FC236}">
                <a16:creationId xmlns:a16="http://schemas.microsoft.com/office/drawing/2014/main" id="{CA0F86B7-A959-35B6-14A0-986898F42762}"/>
              </a:ext>
            </a:extLst>
          </p:cNvPr>
          <p:cNvGraphicFramePr>
            <a:graphicFrameLocks noGrp="1"/>
          </p:cNvGraphicFramePr>
          <p:nvPr>
            <p:extLst>
              <p:ext uri="{D42A27DB-BD31-4B8C-83A1-F6EECF244321}">
                <p14:modId xmlns:p14="http://schemas.microsoft.com/office/powerpoint/2010/main" val="3732458044"/>
              </p:ext>
            </p:extLst>
          </p:nvPr>
        </p:nvGraphicFramePr>
        <p:xfrm>
          <a:off x="542237" y="4210050"/>
          <a:ext cx="2409702" cy="1978029"/>
        </p:xfrm>
        <a:graphic>
          <a:graphicData uri="http://schemas.openxmlformats.org/drawingml/2006/table">
            <a:tbl>
              <a:tblPr firstRow="1">
                <a:tableStyleId>{9DCAF9ED-07DC-4A11-8D7F-57B35C25682E}</a:tableStyleId>
              </a:tblPr>
              <a:tblGrid>
                <a:gridCol w="1131288">
                  <a:extLst>
                    <a:ext uri="{9D8B030D-6E8A-4147-A177-3AD203B41FA5}">
                      <a16:colId xmlns:a16="http://schemas.microsoft.com/office/drawing/2014/main" val="163995622"/>
                    </a:ext>
                  </a:extLst>
                </a:gridCol>
                <a:gridCol w="681486">
                  <a:extLst>
                    <a:ext uri="{9D8B030D-6E8A-4147-A177-3AD203B41FA5}">
                      <a16:colId xmlns:a16="http://schemas.microsoft.com/office/drawing/2014/main" val="3019209980"/>
                    </a:ext>
                  </a:extLst>
                </a:gridCol>
                <a:gridCol w="596928">
                  <a:extLst>
                    <a:ext uri="{9D8B030D-6E8A-4147-A177-3AD203B41FA5}">
                      <a16:colId xmlns:a16="http://schemas.microsoft.com/office/drawing/2014/main" val="450903236"/>
                    </a:ext>
                  </a:extLst>
                </a:gridCol>
              </a:tblGrid>
              <a:tr h="219781">
                <a:tc>
                  <a:txBody>
                    <a:bodyPr/>
                    <a:lstStyle/>
                    <a:p>
                      <a:pPr algn="l" fontAlgn="b"/>
                      <a:r>
                        <a:rPr lang="en-GB" sz="1200" b="1" i="0" u="none" strike="noStrike">
                          <a:effectLst/>
                          <a:latin typeface="+mn-lt"/>
                        </a:rPr>
                        <a:t>Consumer Type</a:t>
                      </a:r>
                    </a:p>
                  </a:txBody>
                  <a:tcPr marL="6350" marR="6350" marT="6350" marB="0" anchor="b"/>
                </a:tc>
                <a:tc>
                  <a:txBody>
                    <a:bodyPr/>
                    <a:lstStyle/>
                    <a:p>
                      <a:pPr algn="r" fontAlgn="b"/>
                      <a:r>
                        <a:rPr lang="en-GB" sz="1200" b="1" i="0" u="none" strike="noStrike">
                          <a:effectLst/>
                          <a:latin typeface="+mn-lt"/>
                        </a:rPr>
                        <a:t>Number</a:t>
                      </a:r>
                    </a:p>
                  </a:txBody>
                  <a:tcPr marL="6350" marR="6350" marT="6350" marB="0" anchor="b"/>
                </a:tc>
                <a:tc>
                  <a:txBody>
                    <a:bodyPr/>
                    <a:lstStyle/>
                    <a:p>
                      <a:pPr algn="r" fontAlgn="b"/>
                      <a:r>
                        <a:rPr lang="en-GB" sz="1200" b="1" i="0" u="none" strike="noStrike">
                          <a:effectLst/>
                          <a:latin typeface="+mn-lt"/>
                        </a:rPr>
                        <a:t>%</a:t>
                      </a:r>
                    </a:p>
                  </a:txBody>
                  <a:tcPr marL="6350" marR="6350" marT="6350" marB="0" anchor="b"/>
                </a:tc>
                <a:extLst>
                  <a:ext uri="{0D108BD9-81ED-4DB2-BD59-A6C34878D82A}">
                    <a16:rowId xmlns:a16="http://schemas.microsoft.com/office/drawing/2014/main" val="1833109096"/>
                  </a:ext>
                </a:extLst>
              </a:tr>
              <a:tr h="219781">
                <a:tc>
                  <a:txBody>
                    <a:bodyPr/>
                    <a:lstStyle/>
                    <a:p>
                      <a:pPr algn="l" fontAlgn="b"/>
                      <a:r>
                        <a:rPr lang="en-GB" sz="1200" b="0" u="none" strike="noStrike">
                          <a:effectLst/>
                        </a:rPr>
                        <a:t>Domestic</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439,549</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92.2%</a:t>
                      </a:r>
                      <a:endParaRPr lang="en-GB" sz="1200" b="0" i="0" u="none" strike="noStrike">
                        <a:effectLst/>
                        <a:latin typeface="+mn-lt"/>
                      </a:endParaRPr>
                    </a:p>
                  </a:txBody>
                  <a:tcPr marL="6350" marR="6350" marT="6350" marB="0" anchor="b"/>
                </a:tc>
                <a:extLst>
                  <a:ext uri="{0D108BD9-81ED-4DB2-BD59-A6C34878D82A}">
                    <a16:rowId xmlns:a16="http://schemas.microsoft.com/office/drawing/2014/main" val="371740088"/>
                  </a:ext>
                </a:extLst>
              </a:tr>
              <a:tr h="219781">
                <a:tc>
                  <a:txBody>
                    <a:bodyPr/>
                    <a:lstStyle/>
                    <a:p>
                      <a:pPr algn="l" fontAlgn="b"/>
                      <a:r>
                        <a:rPr lang="en-GB" sz="1200" b="0" u="none" strike="noStrike">
                          <a:effectLst/>
                        </a:rPr>
                        <a:t>Commercial</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28,054</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5.9%</a:t>
                      </a:r>
                      <a:endParaRPr lang="en-GB" sz="1200" b="0" i="0" u="none" strike="noStrike">
                        <a:effectLst/>
                        <a:latin typeface="+mn-lt"/>
                      </a:endParaRPr>
                    </a:p>
                  </a:txBody>
                  <a:tcPr marL="6350" marR="6350" marT="6350" marB="0" anchor="b"/>
                </a:tc>
                <a:extLst>
                  <a:ext uri="{0D108BD9-81ED-4DB2-BD59-A6C34878D82A}">
                    <a16:rowId xmlns:a16="http://schemas.microsoft.com/office/drawing/2014/main" val="82862908"/>
                  </a:ext>
                </a:extLst>
              </a:tr>
              <a:tr h="219781">
                <a:tc>
                  <a:txBody>
                    <a:bodyPr/>
                    <a:lstStyle/>
                    <a:p>
                      <a:pPr algn="l" fontAlgn="b"/>
                      <a:r>
                        <a:rPr lang="en-GB" sz="1200" b="0" u="none" strike="noStrike">
                          <a:effectLst/>
                        </a:rPr>
                        <a:t>Retail</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3,226</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0.7%</a:t>
                      </a:r>
                      <a:endParaRPr lang="en-GB" sz="1200" b="0" i="0" u="none" strike="noStrike">
                        <a:effectLst/>
                        <a:latin typeface="+mn-lt"/>
                      </a:endParaRPr>
                    </a:p>
                  </a:txBody>
                  <a:tcPr marL="6350" marR="6350" marT="6350" marB="0" anchor="b"/>
                </a:tc>
                <a:extLst>
                  <a:ext uri="{0D108BD9-81ED-4DB2-BD59-A6C34878D82A}">
                    <a16:rowId xmlns:a16="http://schemas.microsoft.com/office/drawing/2014/main" val="1116086610"/>
                  </a:ext>
                </a:extLst>
              </a:tr>
              <a:tr h="219781">
                <a:tc>
                  <a:txBody>
                    <a:bodyPr/>
                    <a:lstStyle/>
                    <a:p>
                      <a:pPr algn="l" fontAlgn="b"/>
                      <a:r>
                        <a:rPr lang="en-GB" sz="1200" b="0" u="none" strike="noStrike">
                          <a:effectLst/>
                        </a:rPr>
                        <a:t>Light industrial</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217</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0.05%</a:t>
                      </a:r>
                      <a:endParaRPr lang="en-GB" sz="1200" b="0" i="0" u="none" strike="noStrike">
                        <a:effectLst/>
                        <a:latin typeface="+mn-lt"/>
                      </a:endParaRPr>
                    </a:p>
                  </a:txBody>
                  <a:tcPr marL="6350" marR="6350" marT="6350" marB="0" anchor="b"/>
                </a:tc>
                <a:extLst>
                  <a:ext uri="{0D108BD9-81ED-4DB2-BD59-A6C34878D82A}">
                    <a16:rowId xmlns:a16="http://schemas.microsoft.com/office/drawing/2014/main" val="2107876116"/>
                  </a:ext>
                </a:extLst>
              </a:tr>
              <a:tr h="219781">
                <a:tc>
                  <a:txBody>
                    <a:bodyPr/>
                    <a:lstStyle/>
                    <a:p>
                      <a:pPr algn="l" fontAlgn="b"/>
                      <a:r>
                        <a:rPr lang="en-GB" sz="1200" b="0" u="none" strike="noStrike">
                          <a:effectLst/>
                        </a:rPr>
                        <a:t>Industrial</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77</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0.02%</a:t>
                      </a:r>
                      <a:endParaRPr lang="en-GB" sz="1200" b="0" i="0" u="none" strike="noStrike">
                        <a:effectLst/>
                        <a:latin typeface="+mn-lt"/>
                      </a:endParaRPr>
                    </a:p>
                  </a:txBody>
                  <a:tcPr marL="6350" marR="6350" marT="6350" marB="0" anchor="b"/>
                </a:tc>
                <a:extLst>
                  <a:ext uri="{0D108BD9-81ED-4DB2-BD59-A6C34878D82A}">
                    <a16:rowId xmlns:a16="http://schemas.microsoft.com/office/drawing/2014/main" val="2356478616"/>
                  </a:ext>
                </a:extLst>
              </a:tr>
              <a:tr h="219781">
                <a:tc>
                  <a:txBody>
                    <a:bodyPr/>
                    <a:lstStyle/>
                    <a:p>
                      <a:pPr algn="l" fontAlgn="b"/>
                      <a:r>
                        <a:rPr lang="en-GB" sz="1200" b="0" u="none" strike="noStrike">
                          <a:effectLst/>
                        </a:rPr>
                        <a:t>Education</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1,164</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0.2%</a:t>
                      </a:r>
                      <a:endParaRPr lang="en-GB" sz="1200" b="0" i="0" u="none" strike="noStrike">
                        <a:effectLst/>
                        <a:latin typeface="+mn-lt"/>
                      </a:endParaRPr>
                    </a:p>
                  </a:txBody>
                  <a:tcPr marL="6350" marR="6350" marT="6350" marB="0" anchor="b"/>
                </a:tc>
                <a:extLst>
                  <a:ext uri="{0D108BD9-81ED-4DB2-BD59-A6C34878D82A}">
                    <a16:rowId xmlns:a16="http://schemas.microsoft.com/office/drawing/2014/main" val="660108427"/>
                  </a:ext>
                </a:extLst>
              </a:tr>
              <a:tr h="219781">
                <a:tc>
                  <a:txBody>
                    <a:bodyPr/>
                    <a:lstStyle/>
                    <a:p>
                      <a:pPr algn="l" fontAlgn="b"/>
                      <a:r>
                        <a:rPr lang="en-GB" sz="1200" b="0" u="none" strike="noStrike">
                          <a:effectLst/>
                        </a:rPr>
                        <a:t>Public</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602</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0.1%</a:t>
                      </a:r>
                      <a:endParaRPr lang="en-GB" sz="1200" b="0" i="0" u="none" strike="noStrike">
                        <a:effectLst/>
                        <a:latin typeface="+mn-lt"/>
                      </a:endParaRPr>
                    </a:p>
                  </a:txBody>
                  <a:tcPr marL="6350" marR="6350" marT="6350" marB="0" anchor="b"/>
                </a:tc>
                <a:extLst>
                  <a:ext uri="{0D108BD9-81ED-4DB2-BD59-A6C34878D82A}">
                    <a16:rowId xmlns:a16="http://schemas.microsoft.com/office/drawing/2014/main" val="1629012801"/>
                  </a:ext>
                </a:extLst>
              </a:tr>
              <a:tr h="219781">
                <a:tc>
                  <a:txBody>
                    <a:bodyPr/>
                    <a:lstStyle/>
                    <a:p>
                      <a:pPr algn="l" fontAlgn="b"/>
                      <a:r>
                        <a:rPr lang="en-GB" sz="1200" b="0" u="none" strike="noStrike">
                          <a:effectLst/>
                        </a:rPr>
                        <a:t>Other</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4,062</a:t>
                      </a:r>
                      <a:endParaRPr lang="en-GB" sz="1200" b="0" i="0" u="none" strike="noStrike">
                        <a:effectLst/>
                        <a:latin typeface="+mn-lt"/>
                      </a:endParaRPr>
                    </a:p>
                  </a:txBody>
                  <a:tcPr marL="6350" marR="6350" marT="6350" marB="0" anchor="b"/>
                </a:tc>
                <a:tc>
                  <a:txBody>
                    <a:bodyPr/>
                    <a:lstStyle/>
                    <a:p>
                      <a:pPr algn="r" fontAlgn="b"/>
                      <a:r>
                        <a:rPr lang="en-GB" sz="1200" b="0" u="none" strike="noStrike">
                          <a:effectLst/>
                        </a:rPr>
                        <a:t>0.9%</a:t>
                      </a:r>
                      <a:endParaRPr lang="en-GB" sz="1200" b="0" i="0" u="none" strike="noStrike">
                        <a:effectLst/>
                        <a:latin typeface="+mn-lt"/>
                      </a:endParaRPr>
                    </a:p>
                  </a:txBody>
                  <a:tcPr marL="6350" marR="6350" marT="6350" marB="0" anchor="b"/>
                </a:tc>
                <a:extLst>
                  <a:ext uri="{0D108BD9-81ED-4DB2-BD59-A6C34878D82A}">
                    <a16:rowId xmlns:a16="http://schemas.microsoft.com/office/drawing/2014/main" val="4166293407"/>
                  </a:ext>
                </a:extLst>
              </a:tr>
            </a:tbl>
          </a:graphicData>
        </a:graphic>
      </p:graphicFrame>
      <p:sp>
        <p:nvSpPr>
          <p:cNvPr id="244" name="TextBox 243">
            <a:extLst>
              <a:ext uri="{FF2B5EF4-FFF2-40B4-BE49-F238E27FC236}">
                <a16:creationId xmlns:a16="http://schemas.microsoft.com/office/drawing/2014/main" id="{E1962E29-5AAC-A271-AF53-702F1B7470FA}"/>
              </a:ext>
            </a:extLst>
          </p:cNvPr>
          <p:cNvSpPr txBox="1"/>
          <p:nvPr>
            <p:custDataLst>
              <p:tags r:id="rId10"/>
            </p:custDataLst>
          </p:nvPr>
        </p:nvSpPr>
        <p:spPr>
          <a:xfrm>
            <a:off x="3765550" y="3933825"/>
            <a:ext cx="2103438" cy="276225"/>
          </a:xfrm>
          <a:prstGeom prst="rect">
            <a:avLst/>
          </a:prstGeom>
          <a:noFill/>
        </p:spPr>
        <p:txBody>
          <a:bodyPr wrap="square" rtlCol="0">
            <a:spAutoFit/>
          </a:bodyPr>
          <a:lstStyle/>
          <a:p>
            <a:r>
              <a:rPr lang="en-US" sz="1200" b="1">
                <a:solidFill>
                  <a:srgbClr val="9C1420"/>
                </a:solidFill>
              </a:rPr>
              <a:t>Split of heat network by type*</a:t>
            </a:r>
          </a:p>
        </p:txBody>
      </p:sp>
      <p:sp>
        <p:nvSpPr>
          <p:cNvPr id="264" name="TextBox 263">
            <a:extLst>
              <a:ext uri="{FF2B5EF4-FFF2-40B4-BE49-F238E27FC236}">
                <a16:creationId xmlns:a16="http://schemas.microsoft.com/office/drawing/2014/main" id="{B7806FA3-CE98-3A1B-D358-F2F3586F2BBB}"/>
              </a:ext>
            </a:extLst>
          </p:cNvPr>
          <p:cNvSpPr txBox="1"/>
          <p:nvPr>
            <p:custDataLst>
              <p:tags r:id="rId11"/>
            </p:custDataLst>
          </p:nvPr>
        </p:nvSpPr>
        <p:spPr>
          <a:xfrm>
            <a:off x="360466" y="6587583"/>
            <a:ext cx="11690636" cy="261610"/>
          </a:xfrm>
          <a:prstGeom prst="rect">
            <a:avLst/>
          </a:prstGeom>
          <a:noFill/>
        </p:spPr>
        <p:txBody>
          <a:bodyPr wrap="square" rtlCol="0">
            <a:spAutoFit/>
          </a:bodyPr>
          <a:lstStyle/>
          <a:p>
            <a:r>
              <a:rPr lang="en-US" sz="1100"/>
              <a:t>*District is more than one building, while communal is only one building. It is therefore important to note that the majority of heat networks in the UK are a “Heatropolis archetype 3”. </a:t>
            </a:r>
          </a:p>
        </p:txBody>
      </p:sp>
    </p:spTree>
    <p:extLst>
      <p:ext uri="{BB962C8B-B14F-4D97-AF65-F5344CB8AC3E}">
        <p14:creationId xmlns:p14="http://schemas.microsoft.com/office/powerpoint/2010/main" val="20180815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A61559A-5E71-0410-B2BC-3B875BA32C59}"/>
              </a:ext>
            </a:extLst>
          </p:cNvPr>
          <p:cNvGraphicFramePr>
            <a:graphicFrameLocks noChangeAspect="1"/>
          </p:cNvGraphicFramePr>
          <p:nvPr>
            <p:custDataLst>
              <p:tags r:id="rId1"/>
            </p:custDataLst>
            <p:extLst>
              <p:ext uri="{D42A27DB-BD31-4B8C-83A1-F6EECF244321}">
                <p14:modId xmlns:p14="http://schemas.microsoft.com/office/powerpoint/2010/main" val="3708808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EA61559A-5E71-0410-B2BC-3B875BA32C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879B80-2C36-3BE5-4151-C4E88E71B2A6}"/>
              </a:ext>
            </a:extLst>
          </p:cNvPr>
          <p:cNvSpPr>
            <a:spLocks noGrp="1"/>
          </p:cNvSpPr>
          <p:nvPr>
            <p:ph type="title"/>
          </p:nvPr>
        </p:nvSpPr>
        <p:spPr/>
        <p:txBody>
          <a:bodyPr vert="horz"/>
          <a:lstStyle/>
          <a:p>
            <a:r>
              <a:rPr lang="en-US"/>
              <a:t>Targets and Pipeline </a:t>
            </a:r>
          </a:p>
        </p:txBody>
      </p:sp>
      <p:sp>
        <p:nvSpPr>
          <p:cNvPr id="3" name="Content Placeholder 2">
            <a:extLst>
              <a:ext uri="{FF2B5EF4-FFF2-40B4-BE49-F238E27FC236}">
                <a16:creationId xmlns:a16="http://schemas.microsoft.com/office/drawing/2014/main" id="{E3BE3A3F-3962-B621-9063-5996CB9CC3A7}"/>
              </a:ext>
            </a:extLst>
          </p:cNvPr>
          <p:cNvSpPr>
            <a:spLocks noGrp="1"/>
          </p:cNvSpPr>
          <p:nvPr>
            <p:ph idx="1"/>
          </p:nvPr>
        </p:nvSpPr>
        <p:spPr>
          <a:xfrm>
            <a:off x="466958" y="1412868"/>
            <a:ext cx="6330657" cy="1865170"/>
          </a:xfrm>
        </p:spPr>
        <p:txBody>
          <a:bodyPr>
            <a:noAutofit/>
          </a:bodyPr>
          <a:lstStyle/>
          <a:p>
            <a:pPr marL="0" indent="0">
              <a:spcBef>
                <a:spcPts val="600"/>
              </a:spcBef>
              <a:buNone/>
            </a:pPr>
            <a:r>
              <a:rPr lang="en-US" sz="1200" b="1" dirty="0">
                <a:solidFill>
                  <a:srgbClr val="9C1420"/>
                </a:solidFill>
              </a:rPr>
              <a:t>Deployment of new heat networks</a:t>
            </a:r>
          </a:p>
          <a:p>
            <a:pPr marL="0" indent="0">
              <a:spcBef>
                <a:spcPts val="600"/>
              </a:spcBef>
              <a:buNone/>
            </a:pPr>
            <a:r>
              <a:rPr lang="en-US" sz="1200" dirty="0"/>
              <a:t>The government </a:t>
            </a:r>
            <a:r>
              <a:rPr lang="en-GB" sz="1200" dirty="0"/>
              <a:t>is aiming for </a:t>
            </a:r>
            <a:r>
              <a:rPr lang="en-GB" sz="1200" b="1" dirty="0"/>
              <a:t>20% of the UK’s heat demand </a:t>
            </a:r>
            <a:r>
              <a:rPr lang="en-GB" sz="1200" dirty="0"/>
              <a:t>to be provided by heat networks by 2050. This represents an increase </a:t>
            </a:r>
            <a:r>
              <a:rPr lang="en-US" sz="1200" dirty="0"/>
              <a:t>from 12.8 TWh in 2020 to 95 TWh in 2050. Many do not believe this is ambitious enough, including the latest Carbon Budget whose Balanced Pathway sees heat networks providing 22% of heat in non-residential buildings by 2040, and assumes that the deployment of heat networks in the residential sector will match the non-residential rate.</a:t>
            </a:r>
          </a:p>
          <a:p>
            <a:pPr marL="0" indent="0">
              <a:spcBef>
                <a:spcPts val="600"/>
              </a:spcBef>
              <a:buNone/>
            </a:pPr>
            <a:r>
              <a:rPr lang="en-US" sz="1200" b="1" dirty="0">
                <a:solidFill>
                  <a:srgbClr val="9C1420"/>
                </a:solidFill>
              </a:rPr>
              <a:t>Decarbonisation of existing heat networks</a:t>
            </a:r>
          </a:p>
          <a:p>
            <a:pPr marL="0" indent="0">
              <a:spcBef>
                <a:spcPts val="600"/>
              </a:spcBef>
              <a:buNone/>
            </a:pPr>
            <a:r>
              <a:rPr lang="en-US" sz="1200" dirty="0"/>
              <a:t>90% of existing heat networks use at least some natural gas. The Seventh Carbon Budget set out ambitious milestones for </a:t>
            </a:r>
            <a:r>
              <a:rPr lang="en-US" sz="1200" b="1" dirty="0"/>
              <a:t>40%</a:t>
            </a:r>
            <a:r>
              <a:rPr lang="en-US" sz="1200" dirty="0"/>
              <a:t> of existing heat networks to be </a:t>
            </a:r>
            <a:r>
              <a:rPr lang="en-US" sz="1200" b="1" dirty="0" err="1"/>
              <a:t>decarbonised</a:t>
            </a:r>
            <a:r>
              <a:rPr lang="en-US" sz="1200" b="1" dirty="0"/>
              <a:t> by 2030</a:t>
            </a:r>
            <a:r>
              <a:rPr lang="en-US" sz="1200" dirty="0"/>
              <a:t>, and </a:t>
            </a:r>
            <a:r>
              <a:rPr lang="en-US" sz="1200" b="1" dirty="0"/>
              <a:t>100% by 2040</a:t>
            </a:r>
            <a:r>
              <a:rPr lang="en-US" sz="1200" dirty="0"/>
              <a:t> in the Balanced Pathway. UK Government is supporting this through various funds (slide 40).</a:t>
            </a:r>
          </a:p>
        </p:txBody>
      </p:sp>
      <p:pic>
        <p:nvPicPr>
          <p:cNvPr id="9" name="Picture 8">
            <a:extLst>
              <a:ext uri="{FF2B5EF4-FFF2-40B4-BE49-F238E27FC236}">
                <a16:creationId xmlns:a16="http://schemas.microsoft.com/office/drawing/2014/main" id="{2F18D4F6-F13C-5267-F7AF-331F4DD32A7E}"/>
              </a:ext>
            </a:extLst>
          </p:cNvPr>
          <p:cNvPicPr>
            <a:picLocks noChangeAspect="1"/>
          </p:cNvPicPr>
          <p:nvPr/>
        </p:nvPicPr>
        <p:blipFill>
          <a:blip r:embed="rId5"/>
          <a:stretch>
            <a:fillRect/>
          </a:stretch>
        </p:blipFill>
        <p:spPr>
          <a:xfrm>
            <a:off x="6989289" y="539978"/>
            <a:ext cx="4781796" cy="5753396"/>
          </a:xfrm>
          <a:prstGeom prst="rect">
            <a:avLst/>
          </a:prstGeom>
        </p:spPr>
      </p:pic>
      <p:pic>
        <p:nvPicPr>
          <p:cNvPr id="10" name="Picture 9">
            <a:extLst>
              <a:ext uri="{FF2B5EF4-FFF2-40B4-BE49-F238E27FC236}">
                <a16:creationId xmlns:a16="http://schemas.microsoft.com/office/drawing/2014/main" id="{74EA7F07-7906-2D6C-79E4-44C128965F3C}"/>
              </a:ext>
            </a:extLst>
          </p:cNvPr>
          <p:cNvPicPr>
            <a:picLocks noChangeAspect="1"/>
          </p:cNvPicPr>
          <p:nvPr/>
        </p:nvPicPr>
        <p:blipFill>
          <a:blip r:embed="rId6"/>
          <a:stretch>
            <a:fillRect/>
          </a:stretch>
        </p:blipFill>
        <p:spPr>
          <a:xfrm>
            <a:off x="6989288" y="539978"/>
            <a:ext cx="1587582" cy="2267067"/>
          </a:xfrm>
          <a:prstGeom prst="rect">
            <a:avLst/>
          </a:prstGeom>
        </p:spPr>
      </p:pic>
      <p:sp>
        <p:nvSpPr>
          <p:cNvPr id="11" name="TextBox 10">
            <a:extLst>
              <a:ext uri="{FF2B5EF4-FFF2-40B4-BE49-F238E27FC236}">
                <a16:creationId xmlns:a16="http://schemas.microsoft.com/office/drawing/2014/main" id="{B36D39F1-2036-E922-0213-A89373BB34FF}"/>
              </a:ext>
            </a:extLst>
          </p:cNvPr>
          <p:cNvSpPr txBox="1"/>
          <p:nvPr/>
        </p:nvSpPr>
        <p:spPr>
          <a:xfrm>
            <a:off x="6989288" y="6293374"/>
            <a:ext cx="4781796" cy="276999"/>
          </a:xfrm>
          <a:prstGeom prst="rect">
            <a:avLst/>
          </a:prstGeom>
          <a:noFill/>
        </p:spPr>
        <p:txBody>
          <a:bodyPr wrap="square" rtlCol="0">
            <a:spAutoFit/>
          </a:bodyPr>
          <a:lstStyle/>
          <a:p>
            <a:r>
              <a:rPr lang="en-US" sz="1200" i="1"/>
              <a:t>Map of heat networks in development as of Q3 2024, source: </a:t>
            </a:r>
            <a:r>
              <a:rPr lang="en-US" sz="1200" i="1">
                <a:hlinkClick r:id="rId7"/>
              </a:rPr>
              <a:t>Barbour-ABI</a:t>
            </a:r>
            <a:endParaRPr lang="en-US" sz="1200" i="1"/>
          </a:p>
        </p:txBody>
      </p:sp>
      <p:pic>
        <p:nvPicPr>
          <p:cNvPr id="15" name="Picture 14">
            <a:extLst>
              <a:ext uri="{FF2B5EF4-FFF2-40B4-BE49-F238E27FC236}">
                <a16:creationId xmlns:a16="http://schemas.microsoft.com/office/drawing/2014/main" id="{7AFD6D34-DD8D-F21C-2E89-CF8B2FCF0CE4}"/>
              </a:ext>
            </a:extLst>
          </p:cNvPr>
          <p:cNvPicPr>
            <a:picLocks noChangeAspect="1"/>
          </p:cNvPicPr>
          <p:nvPr/>
        </p:nvPicPr>
        <p:blipFill>
          <a:blip r:embed="rId8"/>
          <a:stretch>
            <a:fillRect/>
          </a:stretch>
        </p:blipFill>
        <p:spPr>
          <a:xfrm>
            <a:off x="466957" y="3518342"/>
            <a:ext cx="5890711" cy="2775032"/>
          </a:xfrm>
          <a:prstGeom prst="rect">
            <a:avLst/>
          </a:prstGeom>
        </p:spPr>
      </p:pic>
      <p:sp>
        <p:nvSpPr>
          <p:cNvPr id="4" name="TextBox 3">
            <a:extLst>
              <a:ext uri="{FF2B5EF4-FFF2-40B4-BE49-F238E27FC236}">
                <a16:creationId xmlns:a16="http://schemas.microsoft.com/office/drawing/2014/main" id="{5501F8D2-58DD-FD5A-B75E-A6895CDA0AF3}"/>
              </a:ext>
            </a:extLst>
          </p:cNvPr>
          <p:cNvSpPr txBox="1"/>
          <p:nvPr/>
        </p:nvSpPr>
        <p:spPr>
          <a:xfrm>
            <a:off x="466956" y="6293373"/>
            <a:ext cx="5890710" cy="276999"/>
          </a:xfrm>
          <a:prstGeom prst="rect">
            <a:avLst/>
          </a:prstGeom>
          <a:noFill/>
        </p:spPr>
        <p:txBody>
          <a:bodyPr wrap="square" rtlCol="0">
            <a:spAutoFit/>
          </a:bodyPr>
          <a:lstStyle/>
          <a:p>
            <a:r>
              <a:rPr lang="en-US" sz="1200" i="1"/>
              <a:t>Proportion of heat demand met by heat networks over time, source: </a:t>
            </a:r>
            <a:r>
              <a:rPr lang="en-US" sz="1200" i="1">
                <a:hlinkClick r:id="rId9"/>
              </a:rPr>
              <a:t>DESNZ</a:t>
            </a:r>
            <a:endParaRPr lang="en-US" sz="1200" i="1"/>
          </a:p>
        </p:txBody>
      </p:sp>
    </p:spTree>
    <p:extLst>
      <p:ext uri="{BB962C8B-B14F-4D97-AF65-F5344CB8AC3E}">
        <p14:creationId xmlns:p14="http://schemas.microsoft.com/office/powerpoint/2010/main" val="3185571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KDHmziHP4whsjzI29VE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LGfOLt1pOgBUjOmz.B5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9Zaq3D48cBSlmufq3x4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yG13vxe6JFksZX3PxG6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Yi_Mt0HQcKQlMKa9h.t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RsJ2P62XeE8_VGoBCSV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HB8PWICBGVJb_ovrVsR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BzwagJdLFFRh.cgbUpj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Q0VF.u_IZTUXHrwji.g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Q0VF.u_IZTUXHrwji.g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DB9443EC-D9CD-48FD-B4A0-FF42E235E3D1}" vid="{270DB032-15A7-4852-B1F7-ED2972DD1CD1}"/>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DB9443EC-D9CD-48FD-B4A0-FF42E235E3D1}" vid="{270DB032-15A7-4852-B1F7-ED2972DD1CD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AA6BA963B32F94D9F62C7650C8557B5" ma:contentTypeVersion="20" ma:contentTypeDescription="Create a new document." ma:contentTypeScope="" ma:versionID="f4dfee3f0100d36346c1e109be16ce28">
  <xsd:schema xmlns:xsd="http://www.w3.org/2001/XMLSchema" xmlns:xs="http://www.w3.org/2001/XMLSchema" xmlns:p="http://schemas.microsoft.com/office/2006/metadata/properties" xmlns:ns2="2f53e52c-e104-4758-bf2d-d4e037b6b856" xmlns:ns3="64bb07fc-e23e-4017-8dfa-17faf72c01ec" targetNamespace="http://schemas.microsoft.com/office/2006/metadata/properties" ma:root="true" ma:fieldsID="d084984ee04c686f38ba85308add2801" ns2:_="" ns3:_="">
    <xsd:import namespace="2f53e52c-e104-4758-bf2d-d4e037b6b856"/>
    <xsd:import namespace="64bb07fc-e23e-4017-8dfa-17faf72c01e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Location" minOccurs="0"/>
                <xsd:element ref="ns3:MediaServiceObjectDetectorVersions" minOccurs="0"/>
                <xsd:element ref="ns3:MediaServiceSearchProperties" minOccurs="0"/>
                <xsd:element ref="ns3:ProjectStatus" minOccurs="0"/>
                <xsd:element ref="ns3:CurrentPhase" minOccurs="0"/>
                <xsd:element ref="ns3:FolderDescription"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53e52c-e104-4758-bf2d-d4e037b6b85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886a821d-275e-488b-9f72-7d2e072b281b}" ma:internalName="TaxCatchAll" ma:showField="CatchAllData" ma:web="2f53e52c-e104-4758-bf2d-d4e037b6b85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4bb07fc-e23e-4017-8dfa-17faf72c01e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0ab466a-3819-475e-ab10-90933d89acad"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ProjectStatus" ma:index="23" nillable="true" ma:displayName="Project Status" ma:format="Dropdown" ma:internalName="ProjectStatus">
      <xsd:simpleType>
        <xsd:restriction base="dms:Choice">
          <xsd:enumeration value="Live"/>
          <xsd:enumeration value="Closed"/>
          <xsd:enumeration value="Unawarded"/>
        </xsd:restriction>
      </xsd:simpleType>
    </xsd:element>
    <xsd:element name="CurrentPhase" ma:index="24" nillable="true" ma:displayName="Current Phase" ma:format="Dropdown" ma:internalName="CurrentPhase">
      <xsd:simpleType>
        <xsd:restriction base="dms:Choice">
          <xsd:enumeration value="Discovery"/>
          <xsd:enumeration value="Alpha"/>
          <xsd:enumeration value="Beta"/>
        </xsd:restriction>
      </xsd:simpleType>
    </xsd:element>
    <xsd:element name="FolderDescription" ma:index="25" nillable="true" ma:displayName="Folder Description" ma:format="Dropdown" ma:internalName="FolderDescription">
      <xsd:simpleType>
        <xsd:restriction base="dms:Text">
          <xsd:maxLength value="255"/>
        </xsd:restriction>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rojectStatus xmlns="64bb07fc-e23e-4017-8dfa-17faf72c01ec" xsi:nil="true"/>
    <FolderDescription xmlns="64bb07fc-e23e-4017-8dfa-17faf72c01ec" xsi:nil="true"/>
    <CurrentPhase xmlns="64bb07fc-e23e-4017-8dfa-17faf72c01ec" xsi:nil="true"/>
    <TaxCatchAll xmlns="2f53e52c-e104-4758-bf2d-d4e037b6b856" xsi:nil="true"/>
    <lcf76f155ced4ddcb4097134ff3c332f xmlns="64bb07fc-e23e-4017-8dfa-17faf72c01e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0BAEB4C-99D0-4FF8-99CF-34F4EC4E38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53e52c-e104-4758-bf2d-d4e037b6b856"/>
    <ds:schemaRef ds:uri="64bb07fc-e23e-4017-8dfa-17faf72c01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A9014E-4B21-4FA7-97A1-DFF1B7ED2CF0}">
  <ds:schemaRefs>
    <ds:schemaRef ds:uri="http://schemas.microsoft.com/sharepoint/v3/contenttype/forms"/>
  </ds:schemaRefs>
</ds:datastoreItem>
</file>

<file path=customXml/itemProps3.xml><?xml version="1.0" encoding="utf-8"?>
<ds:datastoreItem xmlns:ds="http://schemas.openxmlformats.org/officeDocument/2006/customXml" ds:itemID="{9AA984BE-A4C5-477A-AD99-45841B08AD47}">
  <ds:schemaRefs>
    <ds:schemaRef ds:uri="http://purl.org/dc/elements/1.1/"/>
    <ds:schemaRef ds:uri="http://schemas.microsoft.com/sharepoint/v3"/>
    <ds:schemaRef ds:uri="http://schemas.microsoft.com/office/2006/documentManagement/types"/>
    <ds:schemaRef ds:uri="http://schemas.microsoft.com/office/2006/metadata/properties"/>
    <ds:schemaRef ds:uri="http://purl.org/dc/terms/"/>
    <ds:schemaRef ds:uri="e8facf64-b040-4606-9ff6-7ec7ae5b3fb5"/>
    <ds:schemaRef ds:uri="http://www.w3.org/XML/1998/namespace"/>
    <ds:schemaRef ds:uri="http://purl.org/dc/dcmitype/"/>
    <ds:schemaRef ds:uri="http://schemas.microsoft.com/office/infopath/2007/PartnerControls"/>
    <ds:schemaRef ds:uri="http://schemas.openxmlformats.org/package/2006/metadata/core-properties"/>
    <ds:schemaRef ds:uri="417b6930-e302-42a7-8ab6-284786a8004a"/>
    <ds:schemaRef ds:uri="64bb07fc-e23e-4017-8dfa-17faf72c01ec"/>
    <ds:schemaRef ds:uri="2f53e52c-e104-4758-bf2d-d4e037b6b856"/>
  </ds:schemaRefs>
</ds:datastoreItem>
</file>

<file path=docProps/app.xml><?xml version="1.0" encoding="utf-8"?>
<Properties xmlns="http://schemas.openxmlformats.org/officeDocument/2006/extended-properties" xmlns:vt="http://schemas.openxmlformats.org/officeDocument/2006/docPropsVTypes">
  <TotalTime>9800</TotalTime>
  <Words>10278</Words>
  <Application>Microsoft Office PowerPoint</Application>
  <PresentationFormat>Widescreen</PresentationFormat>
  <Paragraphs>734</Paragraphs>
  <Slides>39</Slides>
  <Notes>24</Notes>
  <HiddenSlides>0</HiddenSlides>
  <MMClips>0</MMClips>
  <ScaleCrop>false</ScaleCrop>
  <HeadingPairs>
    <vt:vector size="4" baseType="variant">
      <vt:variant>
        <vt:lpstr>Theme</vt:lpstr>
      </vt:variant>
      <vt:variant>
        <vt:i4>3</vt:i4>
      </vt:variant>
      <vt:variant>
        <vt:lpstr>Slide Titles</vt:lpstr>
      </vt:variant>
      <vt:variant>
        <vt:i4>39</vt:i4>
      </vt:variant>
    </vt:vector>
  </HeadingPairs>
  <TitlesOfParts>
    <vt:vector size="42" baseType="lpstr">
      <vt:lpstr>Office Theme</vt:lpstr>
      <vt:lpstr>3_Custom Design</vt:lpstr>
      <vt:lpstr>2_Custom Design</vt:lpstr>
      <vt:lpstr>2025 Annual Heatropolis  Horizon Scan</vt:lpstr>
      <vt:lpstr>Horizon Scan Contents</vt:lpstr>
      <vt:lpstr>PowerPoint Presentation</vt:lpstr>
      <vt:lpstr>Horizon Scan Purpose &amp; Outline</vt:lpstr>
      <vt:lpstr>Horizon Scan Methodology</vt:lpstr>
      <vt:lpstr>Horizon Scan Coverage</vt:lpstr>
      <vt:lpstr>PowerPoint Presentation</vt:lpstr>
      <vt:lpstr>Current State</vt:lpstr>
      <vt:lpstr>Targets and Pipeline </vt:lpstr>
      <vt:lpstr>PowerPoint Presentation</vt:lpstr>
      <vt:lpstr>Project coverage: key themes and geographic scope</vt:lpstr>
      <vt:lpstr>List of relevant projects (1/2)</vt:lpstr>
      <vt:lpstr>List of relevant projects (2/2)</vt:lpstr>
      <vt:lpstr>1. Heat networks as flexible grid assets</vt:lpstr>
      <vt:lpstr>2. Storage and flexibility: thermal energy storage for heat networks</vt:lpstr>
      <vt:lpstr>3. ThermaFLEX</vt:lpstr>
      <vt:lpstr>4. Flex heat networks</vt:lpstr>
      <vt:lpstr>5. ENABLE DHC</vt:lpstr>
      <vt:lpstr>6. Thermochemical storage utilisation enabling data centre seasonal energy recovery (THUNDER)</vt:lpstr>
      <vt:lpstr>7. TREASURE</vt:lpstr>
      <vt:lpstr>8. USES4HEAT</vt:lpstr>
      <vt:lpstr>9. RE-PEAK</vt:lpstr>
      <vt:lpstr>10. SENERGY NETS</vt:lpstr>
      <vt:lpstr>11. Aberdeen Heat &amp; Power</vt:lpstr>
      <vt:lpstr>12. MAGNITUDE (1/2)</vt:lpstr>
      <vt:lpstr>12. MAGNITUDE (2/2)</vt:lpstr>
      <vt:lpstr>13. Gateshead District Energy Scheme</vt:lpstr>
      <vt:lpstr>14. IEA Annex 57 (1/2)</vt:lpstr>
      <vt:lpstr>14. IEA Annex 57 (2/2)</vt:lpstr>
      <vt:lpstr>15. Flexi-Sync (1/3)</vt:lpstr>
      <vt:lpstr>15. Flexi-Sync (2/3)</vt:lpstr>
      <vt:lpstr>15. Flexi-Sync (3/3)</vt:lpstr>
      <vt:lpstr>16. Whole system value of electrified district heating networks in decarbonising heat sector in the UK</vt:lpstr>
      <vt:lpstr>17. EQUINOX (Equitable Novel Flexibility Exchange)</vt:lpstr>
      <vt:lpstr>PowerPoint Presentation</vt:lpstr>
      <vt:lpstr>Current Heat Network Policy &amp; Regulation</vt:lpstr>
      <vt:lpstr>Upcoming Heat Network Policy &amp; Regulation</vt:lpstr>
      <vt:lpstr>Heat Network Consultations</vt:lpstr>
      <vt:lpstr>Heat Networks Government Funding &amp; Support</vt:lpstr>
    </vt:vector>
  </TitlesOfParts>
  <Company>UK Power Network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ro Martidi</dc:creator>
  <cp:lastModifiedBy>Magali Aurand</cp:lastModifiedBy>
  <cp:revision>12</cp:revision>
  <dcterms:created xsi:type="dcterms:W3CDTF">2025-02-22T08:52:07Z</dcterms:created>
  <dcterms:modified xsi:type="dcterms:W3CDTF">2025-05-07T09:4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4fe2fa2-8093-4776-8a20-2d25f8c7acf2_Enabled">
    <vt:lpwstr>true</vt:lpwstr>
  </property>
  <property fmtid="{D5CDD505-2E9C-101B-9397-08002B2CF9AE}" pid="3" name="MSIP_Label_24fe2fa2-8093-4776-8a20-2d25f8c7acf2_SetDate">
    <vt:lpwstr>2025-02-22T08:52:13Z</vt:lpwstr>
  </property>
  <property fmtid="{D5CDD505-2E9C-101B-9397-08002B2CF9AE}" pid="4" name="MSIP_Label_24fe2fa2-8093-4776-8a20-2d25f8c7acf2_Method">
    <vt:lpwstr>Standard</vt:lpwstr>
  </property>
  <property fmtid="{D5CDD505-2E9C-101B-9397-08002B2CF9AE}" pid="5" name="MSIP_Label_24fe2fa2-8093-4776-8a20-2d25f8c7acf2_Name">
    <vt:lpwstr>Internal</vt:lpwstr>
  </property>
  <property fmtid="{D5CDD505-2E9C-101B-9397-08002B2CF9AE}" pid="6" name="MSIP_Label_24fe2fa2-8093-4776-8a20-2d25f8c7acf2_SiteId">
    <vt:lpwstr>887a239c-e092-45fe-92c8-d902c3681567</vt:lpwstr>
  </property>
  <property fmtid="{D5CDD505-2E9C-101B-9397-08002B2CF9AE}" pid="7" name="MSIP_Label_24fe2fa2-8093-4776-8a20-2d25f8c7acf2_ActionId">
    <vt:lpwstr>a37d542b-e650-4e8c-b361-aedf856609f3</vt:lpwstr>
  </property>
  <property fmtid="{D5CDD505-2E9C-101B-9397-08002B2CF9AE}" pid="8" name="MSIP_Label_24fe2fa2-8093-4776-8a20-2d25f8c7acf2_ContentBits">
    <vt:lpwstr>0</vt:lpwstr>
  </property>
  <property fmtid="{D5CDD505-2E9C-101B-9397-08002B2CF9AE}" pid="9" name="MSIP_Label_24fe2fa2-8093-4776-8a20-2d25f8c7acf2_Tag">
    <vt:lpwstr>10, 3, 0, 1</vt:lpwstr>
  </property>
  <property fmtid="{D5CDD505-2E9C-101B-9397-08002B2CF9AE}" pid="10" name="ContentTypeId">
    <vt:lpwstr>0x0101008AA6BA963B32F94D9F62C7650C8557B5</vt:lpwstr>
  </property>
  <property fmtid="{D5CDD505-2E9C-101B-9397-08002B2CF9AE}" pid="11" name="MediaServiceImageTags">
    <vt:lpwstr/>
  </property>
</Properties>
</file>